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Lst>
  <p:notesMasterIdLst>
    <p:notesMasterId r:id="rId23"/>
  </p:notesMasterIdLst>
  <p:sldIdLst>
    <p:sldId id="256" r:id="rId3"/>
    <p:sldId id="404" r:id="rId4"/>
    <p:sldId id="319" r:id="rId5"/>
    <p:sldId id="405" r:id="rId6"/>
    <p:sldId id="406" r:id="rId7"/>
    <p:sldId id="384" r:id="rId8"/>
    <p:sldId id="386" r:id="rId9"/>
    <p:sldId id="407" r:id="rId10"/>
    <p:sldId id="408" r:id="rId11"/>
    <p:sldId id="409" r:id="rId12"/>
    <p:sldId id="410" r:id="rId13"/>
    <p:sldId id="411" r:id="rId14"/>
    <p:sldId id="412" r:id="rId15"/>
    <p:sldId id="415" r:id="rId16"/>
    <p:sldId id="413" r:id="rId17"/>
    <p:sldId id="414" r:id="rId18"/>
    <p:sldId id="393" r:id="rId19"/>
    <p:sldId id="416" r:id="rId20"/>
    <p:sldId id="417" r:id="rId21"/>
    <p:sldId id="336"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F1FD"/>
    <a:srgbClr val="03A5B8"/>
    <a:srgbClr val="BEF8FE"/>
    <a:srgbClr val="E4E4E4"/>
    <a:srgbClr val="FF9B9B"/>
    <a:srgbClr val="78660A"/>
    <a:srgbClr val="146E14"/>
    <a:srgbClr val="6D7885"/>
    <a:srgbClr val="AB378A"/>
    <a:srgbClr val="FFC9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9" autoAdjust="0"/>
    <p:restoredTop sz="94632"/>
  </p:normalViewPr>
  <p:slideViewPr>
    <p:cSldViewPr snapToGrid="0">
      <p:cViewPr varScale="1">
        <p:scale>
          <a:sx n="70" d="100"/>
          <a:sy n="70" d="100"/>
        </p:scale>
        <p:origin x="343" y="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9F8EF0-73C8-7343-8E11-53600A24B57E}" type="datetimeFigureOut">
              <a:rPr lang="en-US" smtClean="0"/>
              <a:t>9/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FF00F-707B-EF40-9119-FE2C2F517A5A}" type="slidenum">
              <a:rPr lang="en-US" smtClean="0"/>
              <a:t>‹#›</a:t>
            </a:fld>
            <a:endParaRPr lang="en-US"/>
          </a:p>
        </p:txBody>
      </p:sp>
    </p:spTree>
    <p:extLst>
      <p:ext uri="{BB962C8B-B14F-4D97-AF65-F5344CB8AC3E}">
        <p14:creationId xmlns:p14="http://schemas.microsoft.com/office/powerpoint/2010/main" val="359157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a:solidFill>
                  <a:schemeClr val="bg1"/>
                </a:solidFill>
                <a:highlight>
                  <a:srgbClr val="FFFF00"/>
                </a:highlight>
              </a:rPr>
              <a:t> University</a:t>
            </a: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a:t>
            </a:fld>
            <a:endParaRPr lang="en-US"/>
          </a:p>
        </p:txBody>
      </p:sp>
    </p:spTree>
    <p:extLst>
      <p:ext uri="{BB962C8B-B14F-4D97-AF65-F5344CB8AC3E}">
        <p14:creationId xmlns:p14="http://schemas.microsoft.com/office/powerpoint/2010/main" val="245631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1</a:t>
            </a:fld>
            <a:endParaRPr lang="en-US"/>
          </a:p>
        </p:txBody>
      </p:sp>
    </p:spTree>
    <p:extLst>
      <p:ext uri="{BB962C8B-B14F-4D97-AF65-F5344CB8AC3E}">
        <p14:creationId xmlns:p14="http://schemas.microsoft.com/office/powerpoint/2010/main" val="1027245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2</a:t>
            </a:fld>
            <a:endParaRPr lang="en-US"/>
          </a:p>
        </p:txBody>
      </p:sp>
    </p:spTree>
    <p:extLst>
      <p:ext uri="{BB962C8B-B14F-4D97-AF65-F5344CB8AC3E}">
        <p14:creationId xmlns:p14="http://schemas.microsoft.com/office/powerpoint/2010/main" val="1431911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3</a:t>
            </a:fld>
            <a:endParaRPr lang="en-US"/>
          </a:p>
        </p:txBody>
      </p:sp>
    </p:spTree>
    <p:extLst>
      <p:ext uri="{BB962C8B-B14F-4D97-AF65-F5344CB8AC3E}">
        <p14:creationId xmlns:p14="http://schemas.microsoft.com/office/powerpoint/2010/main" val="1100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5</a:t>
            </a:fld>
            <a:endParaRPr lang="en-US"/>
          </a:p>
        </p:txBody>
      </p:sp>
    </p:spTree>
    <p:extLst>
      <p:ext uri="{BB962C8B-B14F-4D97-AF65-F5344CB8AC3E}">
        <p14:creationId xmlns:p14="http://schemas.microsoft.com/office/powerpoint/2010/main" val="31217647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6</a:t>
            </a:fld>
            <a:endParaRPr lang="en-US"/>
          </a:p>
        </p:txBody>
      </p:sp>
    </p:spTree>
    <p:extLst>
      <p:ext uri="{BB962C8B-B14F-4D97-AF65-F5344CB8AC3E}">
        <p14:creationId xmlns:p14="http://schemas.microsoft.com/office/powerpoint/2010/main" val="32986869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7</a:t>
            </a:fld>
            <a:endParaRPr lang="en-US"/>
          </a:p>
        </p:txBody>
      </p:sp>
    </p:spTree>
    <p:extLst>
      <p:ext uri="{BB962C8B-B14F-4D97-AF65-F5344CB8AC3E}">
        <p14:creationId xmlns:p14="http://schemas.microsoft.com/office/powerpoint/2010/main" val="1114165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8</a:t>
            </a:fld>
            <a:endParaRPr lang="en-US"/>
          </a:p>
        </p:txBody>
      </p:sp>
    </p:spTree>
    <p:extLst>
      <p:ext uri="{BB962C8B-B14F-4D97-AF65-F5344CB8AC3E}">
        <p14:creationId xmlns:p14="http://schemas.microsoft.com/office/powerpoint/2010/main" val="2146480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9</a:t>
            </a:fld>
            <a:endParaRPr lang="en-US"/>
          </a:p>
        </p:txBody>
      </p:sp>
    </p:spTree>
    <p:extLst>
      <p:ext uri="{BB962C8B-B14F-4D97-AF65-F5344CB8AC3E}">
        <p14:creationId xmlns:p14="http://schemas.microsoft.com/office/powerpoint/2010/main" val="1572258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dirty="0">
                <a:solidFill>
                  <a:schemeClr val="bg1"/>
                </a:solidFill>
                <a:highlight>
                  <a:srgbClr val="FFFF00"/>
                </a:highlight>
              </a:rPr>
              <a:t> University</a:t>
            </a:r>
          </a:p>
        </p:txBody>
      </p:sp>
      <p:sp>
        <p:nvSpPr>
          <p:cNvPr id="4" name="Slide Number Placeholder 3"/>
          <p:cNvSpPr>
            <a:spLocks noGrp="1"/>
          </p:cNvSpPr>
          <p:nvPr>
            <p:ph type="sldNum" sz="quarter" idx="5"/>
          </p:nvPr>
        </p:nvSpPr>
        <p:spPr/>
        <p:txBody>
          <a:bodyPr/>
          <a:lstStyle/>
          <a:p>
            <a:fld id="{12AFF00F-707B-EF40-9119-FE2C2F517A5A}" type="slidenum">
              <a:rPr lang="en-US" smtClean="0"/>
              <a:t>20</a:t>
            </a:fld>
            <a:endParaRPr lang="en-US"/>
          </a:p>
        </p:txBody>
      </p:sp>
    </p:spTree>
    <p:extLst>
      <p:ext uri="{BB962C8B-B14F-4D97-AF65-F5344CB8AC3E}">
        <p14:creationId xmlns:p14="http://schemas.microsoft.com/office/powerpoint/2010/main" val="958293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3</a:t>
            </a:fld>
            <a:endParaRPr lang="en-US"/>
          </a:p>
        </p:txBody>
      </p:sp>
    </p:spTree>
    <p:extLst>
      <p:ext uri="{BB962C8B-B14F-4D97-AF65-F5344CB8AC3E}">
        <p14:creationId xmlns:p14="http://schemas.microsoft.com/office/powerpoint/2010/main" val="438265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4</a:t>
            </a:fld>
            <a:endParaRPr lang="en-US"/>
          </a:p>
        </p:txBody>
      </p:sp>
    </p:spTree>
    <p:extLst>
      <p:ext uri="{BB962C8B-B14F-4D97-AF65-F5344CB8AC3E}">
        <p14:creationId xmlns:p14="http://schemas.microsoft.com/office/powerpoint/2010/main" val="1725621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5</a:t>
            </a:fld>
            <a:endParaRPr lang="en-US"/>
          </a:p>
        </p:txBody>
      </p:sp>
    </p:spTree>
    <p:extLst>
      <p:ext uri="{BB962C8B-B14F-4D97-AF65-F5344CB8AC3E}">
        <p14:creationId xmlns:p14="http://schemas.microsoft.com/office/powerpoint/2010/main" val="628419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6</a:t>
            </a:fld>
            <a:endParaRPr lang="en-US"/>
          </a:p>
        </p:txBody>
      </p:sp>
    </p:spTree>
    <p:extLst>
      <p:ext uri="{BB962C8B-B14F-4D97-AF65-F5344CB8AC3E}">
        <p14:creationId xmlns:p14="http://schemas.microsoft.com/office/powerpoint/2010/main" val="2739101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7</a:t>
            </a:fld>
            <a:endParaRPr lang="en-US"/>
          </a:p>
        </p:txBody>
      </p:sp>
    </p:spTree>
    <p:extLst>
      <p:ext uri="{BB962C8B-B14F-4D97-AF65-F5344CB8AC3E}">
        <p14:creationId xmlns:p14="http://schemas.microsoft.com/office/powerpoint/2010/main" val="3397919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8</a:t>
            </a:fld>
            <a:endParaRPr lang="en-US"/>
          </a:p>
        </p:txBody>
      </p:sp>
    </p:spTree>
    <p:extLst>
      <p:ext uri="{BB962C8B-B14F-4D97-AF65-F5344CB8AC3E}">
        <p14:creationId xmlns:p14="http://schemas.microsoft.com/office/powerpoint/2010/main" val="2036056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9</a:t>
            </a:fld>
            <a:endParaRPr lang="en-US"/>
          </a:p>
        </p:txBody>
      </p:sp>
    </p:spTree>
    <p:extLst>
      <p:ext uri="{BB962C8B-B14F-4D97-AF65-F5344CB8AC3E}">
        <p14:creationId xmlns:p14="http://schemas.microsoft.com/office/powerpoint/2010/main" val="2350926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0</a:t>
            </a:fld>
            <a:endParaRPr lang="en-US"/>
          </a:p>
        </p:txBody>
      </p:sp>
    </p:spTree>
    <p:extLst>
      <p:ext uri="{BB962C8B-B14F-4D97-AF65-F5344CB8AC3E}">
        <p14:creationId xmlns:p14="http://schemas.microsoft.com/office/powerpoint/2010/main" val="1349098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226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4A96C637-82EE-4DB3-9504-8434C1E4AAFB}"/>
              </a:ext>
            </a:extLst>
          </p:cNvPr>
          <p:cNvSpPr>
            <a:spLocks noGrp="1"/>
          </p:cNvSpPr>
          <p:nvPr>
            <p:ph type="pic" sz="quarter" idx="14"/>
          </p:nvPr>
        </p:nvSpPr>
        <p:spPr>
          <a:xfrm>
            <a:off x="1172841"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7C8E273D-458F-4158-AE18-FF2000DEFF17}"/>
              </a:ext>
            </a:extLst>
          </p:cNvPr>
          <p:cNvSpPr>
            <a:spLocks noGrp="1"/>
          </p:cNvSpPr>
          <p:nvPr>
            <p:ph type="pic" sz="quarter" idx="15"/>
          </p:nvPr>
        </p:nvSpPr>
        <p:spPr>
          <a:xfrm>
            <a:off x="8551377"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 xmlns:a16="http://schemas.microsoft.com/office/drawing/2014/main" id="{7D392D9E-C14F-458E-9143-5F612AF7414F}"/>
              </a:ext>
            </a:extLst>
          </p:cNvPr>
          <p:cNvSpPr>
            <a:spLocks noGrp="1"/>
          </p:cNvSpPr>
          <p:nvPr>
            <p:ph type="pic" sz="quarter" idx="16"/>
          </p:nvPr>
        </p:nvSpPr>
        <p:spPr>
          <a:xfrm>
            <a:off x="3638380"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5" name="Picture Placeholder 3">
            <a:extLst>
              <a:ext uri="{FF2B5EF4-FFF2-40B4-BE49-F238E27FC236}">
                <a16:creationId xmlns="" xmlns:a16="http://schemas.microsoft.com/office/drawing/2014/main" id="{DE987D9B-327C-4616-B326-7185F59D6B26}"/>
              </a:ext>
            </a:extLst>
          </p:cNvPr>
          <p:cNvSpPr>
            <a:spLocks noGrp="1"/>
          </p:cNvSpPr>
          <p:nvPr>
            <p:ph type="pic" sz="quarter" idx="17"/>
          </p:nvPr>
        </p:nvSpPr>
        <p:spPr>
          <a:xfrm>
            <a:off x="6081739"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85654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3" name="Picture Placeholder 3">
            <a:extLst>
              <a:ext uri="{FF2B5EF4-FFF2-40B4-BE49-F238E27FC236}">
                <a16:creationId xmlns="" xmlns:a16="http://schemas.microsoft.com/office/drawing/2014/main" id="{DFBB4AF6-8AAE-4A40-B1E7-FD03BADADEB6}"/>
              </a:ext>
            </a:extLst>
          </p:cNvPr>
          <p:cNvSpPr>
            <a:spLocks noGrp="1"/>
          </p:cNvSpPr>
          <p:nvPr>
            <p:ph type="pic" sz="quarter" idx="15"/>
          </p:nvPr>
        </p:nvSpPr>
        <p:spPr>
          <a:xfrm>
            <a:off x="9026114" y="3431086"/>
            <a:ext cx="2530470"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 xmlns:a16="http://schemas.microsoft.com/office/drawing/2014/main" id="{88A03DB2-BDB7-4F50-B705-417A20557AFB}"/>
              </a:ext>
            </a:extLst>
          </p:cNvPr>
          <p:cNvSpPr>
            <a:spLocks noGrp="1"/>
          </p:cNvSpPr>
          <p:nvPr>
            <p:ph type="pic" sz="quarter" idx="16"/>
          </p:nvPr>
        </p:nvSpPr>
        <p:spPr>
          <a:xfrm>
            <a:off x="6507505" y="3431086"/>
            <a:ext cx="2530470" cy="2256497"/>
          </a:xfrm>
          <a:prstGeom prst="rect">
            <a:avLst/>
          </a:prstGeom>
          <a:pattFill prst="pct5">
            <a:fgClr>
              <a:schemeClr val="accent1"/>
            </a:fgClr>
            <a:bgClr>
              <a:schemeClr val="bg1"/>
            </a:bgClr>
          </a:pattFill>
        </p:spPr>
        <p:txBody>
          <a:bodyPr>
            <a:normAutofit/>
          </a:bodyPr>
          <a:lstStyle>
            <a:lvl1pPr>
              <a:defRPr sz="1200" b="1">
                <a:latin typeface="Arial" panose="020B0604020202020204" pitchFamily="34" charset="0"/>
                <a:cs typeface="Arial" panose="020B0604020202020204" pitchFamily="34" charset="0"/>
              </a:defRPr>
            </a:lvl1pPr>
          </a:lstStyle>
          <a:p>
            <a:endParaRPr lang="en-US"/>
          </a:p>
        </p:txBody>
      </p:sp>
      <p:sp>
        <p:nvSpPr>
          <p:cNvPr id="28" name="Picture Placeholder 3">
            <a:extLst>
              <a:ext uri="{FF2B5EF4-FFF2-40B4-BE49-F238E27FC236}">
                <a16:creationId xmlns="" xmlns:a16="http://schemas.microsoft.com/office/drawing/2014/main" id="{1575C793-5616-4AC8-88B1-43E8E1BF721B}"/>
              </a:ext>
            </a:extLst>
          </p:cNvPr>
          <p:cNvSpPr>
            <a:spLocks noGrp="1"/>
          </p:cNvSpPr>
          <p:nvPr>
            <p:ph type="pic" sz="quarter" idx="17"/>
          </p:nvPr>
        </p:nvSpPr>
        <p:spPr>
          <a:xfrm>
            <a:off x="3823342" y="3431086"/>
            <a:ext cx="2728359"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9" name="Picture Placeholder 3">
            <a:extLst>
              <a:ext uri="{FF2B5EF4-FFF2-40B4-BE49-F238E27FC236}">
                <a16:creationId xmlns="" xmlns:a16="http://schemas.microsoft.com/office/drawing/2014/main" id="{F89D67C8-250A-4D2C-81F0-97EAA4A31367}"/>
              </a:ext>
            </a:extLst>
          </p:cNvPr>
          <p:cNvSpPr>
            <a:spLocks noGrp="1"/>
          </p:cNvSpPr>
          <p:nvPr>
            <p:ph type="pic" sz="quarter" idx="18"/>
          </p:nvPr>
        </p:nvSpPr>
        <p:spPr>
          <a:xfrm>
            <a:off x="1156395" y="3431086"/>
            <a:ext cx="2626263"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33" name="Freeform: Shape 32">
            <a:extLst>
              <a:ext uri="{FF2B5EF4-FFF2-40B4-BE49-F238E27FC236}">
                <a16:creationId xmlns="" xmlns:a16="http://schemas.microsoft.com/office/drawing/2014/main" id="{9B0C84CC-5834-4B48-B403-2538293B4C06}"/>
              </a:ext>
            </a:extLst>
          </p:cNvPr>
          <p:cNvSpPr/>
          <p:nvPr userDrawn="1"/>
        </p:nvSpPr>
        <p:spPr>
          <a:xfrm>
            <a:off x="1156890" y="1333501"/>
            <a:ext cx="5394811" cy="2120685"/>
          </a:xfrm>
          <a:custGeom>
            <a:avLst/>
            <a:gdLst>
              <a:gd name="connsiteX0" fmla="*/ 387662 w 5394811"/>
              <a:gd name="connsiteY0" fmla="*/ 0 h 2120685"/>
              <a:gd name="connsiteX1" fmla="*/ 5007149 w 5394811"/>
              <a:gd name="connsiteY1" fmla="*/ 0 h 2120685"/>
              <a:gd name="connsiteX2" fmla="*/ 5394811 w 5394811"/>
              <a:gd name="connsiteY2" fmla="*/ 387662 h 2120685"/>
              <a:gd name="connsiteX3" fmla="*/ 5394811 w 5394811"/>
              <a:gd name="connsiteY3" fmla="*/ 2120685 h 2120685"/>
              <a:gd name="connsiteX4" fmla="*/ 0 w 5394811"/>
              <a:gd name="connsiteY4" fmla="*/ 2120685 h 2120685"/>
              <a:gd name="connsiteX5" fmla="*/ 0 w 5394811"/>
              <a:gd name="connsiteY5" fmla="*/ 387662 h 2120685"/>
              <a:gd name="connsiteX6" fmla="*/ 387662 w 5394811"/>
              <a:gd name="connsiteY6" fmla="*/ 0 h 212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811" h="2120685">
                <a:moveTo>
                  <a:pt x="387662" y="0"/>
                </a:moveTo>
                <a:lnTo>
                  <a:pt x="5007149" y="0"/>
                </a:lnTo>
                <a:cubicBezTo>
                  <a:pt x="5221249" y="0"/>
                  <a:pt x="5394811" y="173562"/>
                  <a:pt x="5394811" y="387662"/>
                </a:cubicBezTo>
                <a:lnTo>
                  <a:pt x="5394811" y="2120685"/>
                </a:lnTo>
                <a:lnTo>
                  <a:pt x="0" y="2120685"/>
                </a:lnTo>
                <a:lnTo>
                  <a:pt x="0" y="387662"/>
                </a:lnTo>
                <a:cubicBezTo>
                  <a:pt x="0" y="173562"/>
                  <a:pt x="173562" y="0"/>
                  <a:pt x="387662" y="0"/>
                </a:cubicBezTo>
                <a:close/>
              </a:path>
            </a:pathLst>
          </a:cu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4261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48" name="Picture Placeholder 147">
            <a:extLst>
              <a:ext uri="{FF2B5EF4-FFF2-40B4-BE49-F238E27FC236}">
                <a16:creationId xmlns="" xmlns:a16="http://schemas.microsoft.com/office/drawing/2014/main" id="{2C80E470-AB36-4329-8A60-12EC19142564}"/>
              </a:ext>
            </a:extLst>
          </p:cNvPr>
          <p:cNvSpPr>
            <a:spLocks noGrp="1"/>
          </p:cNvSpPr>
          <p:nvPr>
            <p:ph type="pic" sz="quarter" idx="13"/>
          </p:nvPr>
        </p:nvSpPr>
        <p:spPr>
          <a:xfrm>
            <a:off x="650873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6" name="Picture Placeholder 145">
            <a:extLst>
              <a:ext uri="{FF2B5EF4-FFF2-40B4-BE49-F238E27FC236}">
                <a16:creationId xmlns="" xmlns:a16="http://schemas.microsoft.com/office/drawing/2014/main" id="{C8505DC3-31E3-4DD8-858F-DDF018DC2909}"/>
              </a:ext>
            </a:extLst>
          </p:cNvPr>
          <p:cNvSpPr>
            <a:spLocks noGrp="1"/>
          </p:cNvSpPr>
          <p:nvPr>
            <p:ph type="pic" sz="quarter" idx="12"/>
          </p:nvPr>
        </p:nvSpPr>
        <p:spPr>
          <a:xfrm>
            <a:off x="650873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4" name="Picture Placeholder 143">
            <a:extLst>
              <a:ext uri="{FF2B5EF4-FFF2-40B4-BE49-F238E27FC236}">
                <a16:creationId xmlns="" xmlns:a16="http://schemas.microsoft.com/office/drawing/2014/main" id="{4D4E6132-6A3E-4985-8FCB-E95EFBB6F3CB}"/>
              </a:ext>
            </a:extLst>
          </p:cNvPr>
          <p:cNvSpPr>
            <a:spLocks noGrp="1"/>
          </p:cNvSpPr>
          <p:nvPr>
            <p:ph type="pic" sz="quarter" idx="11"/>
          </p:nvPr>
        </p:nvSpPr>
        <p:spPr>
          <a:xfrm>
            <a:off x="118486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2" name="Picture Placeholder 141">
            <a:extLst>
              <a:ext uri="{FF2B5EF4-FFF2-40B4-BE49-F238E27FC236}">
                <a16:creationId xmlns="" xmlns:a16="http://schemas.microsoft.com/office/drawing/2014/main" id="{1B084E97-C094-444A-9421-A138E238518E}"/>
              </a:ext>
            </a:extLst>
          </p:cNvPr>
          <p:cNvSpPr>
            <a:spLocks noGrp="1"/>
          </p:cNvSpPr>
          <p:nvPr>
            <p:ph type="pic" sz="quarter" idx="10"/>
          </p:nvPr>
        </p:nvSpPr>
        <p:spPr>
          <a:xfrm>
            <a:off x="118486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159690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E031F571-1F12-48E1-82DB-AADE23FDCCE8}"/>
              </a:ext>
            </a:extLst>
          </p:cNvPr>
          <p:cNvGrpSpPr/>
          <p:nvPr userDrawn="1"/>
        </p:nvGrpSpPr>
        <p:grpSpPr>
          <a:xfrm>
            <a:off x="0" y="2684935"/>
            <a:ext cx="11560709" cy="3396274"/>
            <a:chOff x="0" y="2684935"/>
            <a:chExt cx="11560709" cy="3396274"/>
          </a:xfrm>
        </p:grpSpPr>
        <p:sp>
          <p:nvSpPr>
            <p:cNvPr id="5" name="Rectangle 4">
              <a:extLst>
                <a:ext uri="{FF2B5EF4-FFF2-40B4-BE49-F238E27FC236}">
                  <a16:creationId xmlns="" xmlns:a16="http://schemas.microsoft.com/office/drawing/2014/main" id="{8B85F664-317A-4F05-882C-C3C5668762E5}"/>
                </a:ext>
              </a:extLst>
            </p:cNvPr>
            <p:cNvSpPr/>
            <p:nvPr userDrawn="1"/>
          </p:nvSpPr>
          <p:spPr>
            <a:xfrm>
              <a:off x="0" y="3371851"/>
              <a:ext cx="11560709" cy="270935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 name="Rectangle 2">
              <a:extLst>
                <a:ext uri="{FF2B5EF4-FFF2-40B4-BE49-F238E27FC236}">
                  <a16:creationId xmlns="" xmlns:a16="http://schemas.microsoft.com/office/drawing/2014/main" id="{C2F08E9F-5DBF-4DF2-87E8-3D14996EFC0F}"/>
                </a:ext>
              </a:extLst>
            </p:cNvPr>
            <p:cNvSpPr/>
            <p:nvPr userDrawn="1"/>
          </p:nvSpPr>
          <p:spPr>
            <a:xfrm>
              <a:off x="3387161" y="2684935"/>
              <a:ext cx="2303202" cy="3396274"/>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36211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F931B3A4-1073-4DA9-B593-33A8FB17BA32}"/>
              </a:ext>
            </a:extLst>
          </p:cNvPr>
          <p:cNvSpPr>
            <a:spLocks noGrp="1"/>
          </p:cNvSpPr>
          <p:nvPr>
            <p:ph type="pic" sz="quarter" idx="18"/>
          </p:nvPr>
        </p:nvSpPr>
        <p:spPr>
          <a:xfrm>
            <a:off x="0" y="0"/>
            <a:ext cx="26262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3">
            <a:extLst>
              <a:ext uri="{FF2B5EF4-FFF2-40B4-BE49-F238E27FC236}">
                <a16:creationId xmlns="" xmlns:a16="http://schemas.microsoft.com/office/drawing/2014/main" id="{DB52CD57-F95B-4600-9184-EF5DE1148953}"/>
              </a:ext>
            </a:extLst>
          </p:cNvPr>
          <p:cNvSpPr>
            <a:spLocks noGrp="1"/>
          </p:cNvSpPr>
          <p:nvPr>
            <p:ph type="pic" sz="quarter" idx="19"/>
          </p:nvPr>
        </p:nvSpPr>
        <p:spPr>
          <a:xfrm>
            <a:off x="2626263"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3">
            <a:extLst>
              <a:ext uri="{FF2B5EF4-FFF2-40B4-BE49-F238E27FC236}">
                <a16:creationId xmlns="" xmlns:a16="http://schemas.microsoft.com/office/drawing/2014/main" id="{0FA23FA7-D745-4DA6-A193-1E864A1C3290}"/>
              </a:ext>
            </a:extLst>
          </p:cNvPr>
          <p:cNvSpPr>
            <a:spLocks noGrp="1"/>
          </p:cNvSpPr>
          <p:nvPr>
            <p:ph type="pic" sz="quarter" idx="20"/>
          </p:nvPr>
        </p:nvSpPr>
        <p:spPr>
          <a:xfrm>
            <a:off x="5810250"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3">
            <a:extLst>
              <a:ext uri="{FF2B5EF4-FFF2-40B4-BE49-F238E27FC236}">
                <a16:creationId xmlns="" xmlns:a16="http://schemas.microsoft.com/office/drawing/2014/main" id="{06FC8628-727F-48AE-9456-D523F8240375}"/>
              </a:ext>
            </a:extLst>
          </p:cNvPr>
          <p:cNvSpPr>
            <a:spLocks noGrp="1"/>
          </p:cNvSpPr>
          <p:nvPr>
            <p:ph type="pic" sz="quarter" idx="21"/>
          </p:nvPr>
        </p:nvSpPr>
        <p:spPr>
          <a:xfrm>
            <a:off x="8994237" y="857"/>
            <a:ext cx="31977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09979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A7188E95-4B8C-416C-8BF6-11FFAF18DD08}"/>
              </a:ext>
            </a:extLst>
          </p:cNvPr>
          <p:cNvSpPr>
            <a:spLocks noGrp="1"/>
          </p:cNvSpPr>
          <p:nvPr>
            <p:ph type="pic" sz="quarter" idx="20"/>
          </p:nvPr>
        </p:nvSpPr>
        <p:spPr>
          <a:xfrm>
            <a:off x="6028848" y="3429000"/>
            <a:ext cx="5531862" cy="3429000"/>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 xmlns:a16="http://schemas.microsoft.com/office/drawing/2014/main" id="{F37419E8-B31C-4808-ACA7-BEA8A4CD0A65}"/>
              </a:ext>
            </a:extLst>
          </p:cNvPr>
          <p:cNvSpPr>
            <a:spLocks noGrp="1"/>
          </p:cNvSpPr>
          <p:nvPr>
            <p:ph type="pic" sz="quarter" idx="21"/>
          </p:nvPr>
        </p:nvSpPr>
        <p:spPr>
          <a:xfrm>
            <a:off x="1649066" y="0"/>
            <a:ext cx="4379781" cy="3427124"/>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6" name="Freeform: Shape 25">
            <a:extLst>
              <a:ext uri="{FF2B5EF4-FFF2-40B4-BE49-F238E27FC236}">
                <a16:creationId xmlns="" xmlns:a16="http://schemas.microsoft.com/office/drawing/2014/main" id="{24568BE0-85D0-4EA1-A66C-DB72B8F74A17}"/>
              </a:ext>
            </a:extLst>
          </p:cNvPr>
          <p:cNvSpPr/>
          <p:nvPr userDrawn="1"/>
        </p:nvSpPr>
        <p:spPr>
          <a:xfrm rot="16200000">
            <a:off x="280247" y="2058302"/>
            <a:ext cx="2275635" cy="462008"/>
          </a:xfrm>
          <a:custGeom>
            <a:avLst/>
            <a:gdLst>
              <a:gd name="connsiteX0" fmla="*/ 1956133 w 1956133"/>
              <a:gd name="connsiteY0" fmla="*/ 167015 h 462006"/>
              <a:gd name="connsiteX1" fmla="*/ 1956133 w 1956133"/>
              <a:gd name="connsiteY1" fmla="*/ 462006 h 462006"/>
              <a:gd name="connsiteX2" fmla="*/ 0 w 1956133"/>
              <a:gd name="connsiteY2" fmla="*/ 462005 h 462006"/>
              <a:gd name="connsiteX3" fmla="*/ 0 w 1956133"/>
              <a:gd name="connsiteY3" fmla="*/ 167015 h 462006"/>
              <a:gd name="connsiteX4" fmla="*/ 167015 w 1956133"/>
              <a:gd name="connsiteY4" fmla="*/ 0 h 462006"/>
              <a:gd name="connsiteX5" fmla="*/ 1789118 w 1956133"/>
              <a:gd name="connsiteY5" fmla="*/ 0 h 462006"/>
              <a:gd name="connsiteX6" fmla="*/ 1956133 w 1956133"/>
              <a:gd name="connsiteY6" fmla="*/ 167015 h 46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6133" h="462006">
                <a:moveTo>
                  <a:pt x="1956133" y="167015"/>
                </a:moveTo>
                <a:lnTo>
                  <a:pt x="1956133" y="462006"/>
                </a:lnTo>
                <a:lnTo>
                  <a:pt x="0" y="462005"/>
                </a:lnTo>
                <a:lnTo>
                  <a:pt x="0" y="167015"/>
                </a:lnTo>
                <a:cubicBezTo>
                  <a:pt x="0" y="74775"/>
                  <a:pt x="74775" y="0"/>
                  <a:pt x="167015" y="0"/>
                </a:cubicBezTo>
                <a:lnTo>
                  <a:pt x="1789118" y="0"/>
                </a:lnTo>
                <a:cubicBezTo>
                  <a:pt x="1881358" y="0"/>
                  <a:pt x="1956133" y="74775"/>
                  <a:pt x="1956133" y="167015"/>
                </a:cubicBez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712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1" name="Rectangle 20">
            <a:extLst>
              <a:ext uri="{FF2B5EF4-FFF2-40B4-BE49-F238E27FC236}">
                <a16:creationId xmlns="" xmlns:a16="http://schemas.microsoft.com/office/drawing/2014/main" id="{D9F12CDD-AE58-4039-806D-EEB8F098C95F}"/>
              </a:ext>
            </a:extLst>
          </p:cNvPr>
          <p:cNvSpPr/>
          <p:nvPr userDrawn="1"/>
        </p:nvSpPr>
        <p:spPr>
          <a:xfrm>
            <a:off x="7776822" y="954211"/>
            <a:ext cx="3766134" cy="4949578"/>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Picture Placeholder 3">
            <a:extLst>
              <a:ext uri="{FF2B5EF4-FFF2-40B4-BE49-F238E27FC236}">
                <a16:creationId xmlns="" xmlns:a16="http://schemas.microsoft.com/office/drawing/2014/main" id="{BC536B5B-697F-43DC-B99B-63D01182936A}"/>
              </a:ext>
            </a:extLst>
          </p:cNvPr>
          <p:cNvSpPr>
            <a:spLocks noGrp="1"/>
          </p:cNvSpPr>
          <p:nvPr>
            <p:ph type="pic" sz="quarter" idx="21"/>
          </p:nvPr>
        </p:nvSpPr>
        <p:spPr>
          <a:xfrm>
            <a:off x="783370"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1" name="Picture Placeholder 3">
            <a:extLst>
              <a:ext uri="{FF2B5EF4-FFF2-40B4-BE49-F238E27FC236}">
                <a16:creationId xmlns="" xmlns:a16="http://schemas.microsoft.com/office/drawing/2014/main" id="{EDF0C305-26DC-466A-AD9B-931D0A411041}"/>
              </a:ext>
            </a:extLst>
          </p:cNvPr>
          <p:cNvSpPr>
            <a:spLocks noGrp="1"/>
          </p:cNvSpPr>
          <p:nvPr>
            <p:ph type="pic" sz="quarter" idx="22"/>
          </p:nvPr>
        </p:nvSpPr>
        <p:spPr>
          <a:xfrm>
            <a:off x="4280096"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210273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6B2C0F0F-7D8F-45CE-AB2D-CE21860DA116}"/>
              </a:ext>
            </a:extLst>
          </p:cNvPr>
          <p:cNvSpPr>
            <a:spLocks noGrp="1"/>
          </p:cNvSpPr>
          <p:nvPr>
            <p:ph type="pic" sz="quarter" idx="19"/>
          </p:nvPr>
        </p:nvSpPr>
        <p:spPr>
          <a:xfrm>
            <a:off x="0" y="0"/>
            <a:ext cx="5021456" cy="502397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85914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0D022167-4FD7-4A90-AC4A-DECBFD0B5B47}"/>
              </a:ext>
            </a:extLst>
          </p:cNvPr>
          <p:cNvGrpSpPr/>
          <p:nvPr userDrawn="1"/>
        </p:nvGrpSpPr>
        <p:grpSpPr>
          <a:xfrm>
            <a:off x="0" y="-1"/>
            <a:ext cx="11560709" cy="6175359"/>
            <a:chOff x="0" y="-1"/>
            <a:chExt cx="11560709" cy="6175359"/>
          </a:xfrm>
        </p:grpSpPr>
        <p:sp>
          <p:nvSpPr>
            <p:cNvPr id="31" name="Freeform: Shape 30">
              <a:extLst>
                <a:ext uri="{FF2B5EF4-FFF2-40B4-BE49-F238E27FC236}">
                  <a16:creationId xmlns="" xmlns:a16="http://schemas.microsoft.com/office/drawing/2014/main" id="{E6758539-13A9-4304-A3A1-AF4C787DA8A6}"/>
                </a:ext>
              </a:extLst>
            </p:cNvPr>
            <p:cNvSpPr/>
            <p:nvPr userDrawn="1"/>
          </p:nvSpPr>
          <p:spPr>
            <a:xfrm>
              <a:off x="0" y="0"/>
              <a:ext cx="4169048" cy="5683701"/>
            </a:xfrm>
            <a:custGeom>
              <a:avLst/>
              <a:gdLst>
                <a:gd name="connsiteX0" fmla="*/ 0 w 4169048"/>
                <a:gd name="connsiteY0" fmla="*/ 0 h 5675858"/>
                <a:gd name="connsiteX1" fmla="*/ 4169048 w 4169048"/>
                <a:gd name="connsiteY1" fmla="*/ 0 h 5675858"/>
                <a:gd name="connsiteX2" fmla="*/ 4169048 w 4169048"/>
                <a:gd name="connsiteY2" fmla="*/ 3602865 h 5675858"/>
                <a:gd name="connsiteX3" fmla="*/ 475488 w 4169048"/>
                <a:gd name="connsiteY3" fmla="*/ 3602865 h 5675858"/>
                <a:gd name="connsiteX4" fmla="*/ 475488 w 4169048"/>
                <a:gd name="connsiteY4" fmla="*/ 5675858 h 5675858"/>
                <a:gd name="connsiteX5" fmla="*/ 0 w 4169048"/>
                <a:gd name="connsiteY5" fmla="*/ 5675858 h 567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9048" h="5675858">
                  <a:moveTo>
                    <a:pt x="0" y="0"/>
                  </a:moveTo>
                  <a:lnTo>
                    <a:pt x="4169048" y="0"/>
                  </a:lnTo>
                  <a:lnTo>
                    <a:pt x="4169048" y="3602865"/>
                  </a:lnTo>
                  <a:lnTo>
                    <a:pt x="475488" y="3602865"/>
                  </a:lnTo>
                  <a:lnTo>
                    <a:pt x="475488" y="5675858"/>
                  </a:lnTo>
                  <a:lnTo>
                    <a:pt x="0" y="5675858"/>
                  </a:ln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Rectangle 54">
              <a:extLst>
                <a:ext uri="{FF2B5EF4-FFF2-40B4-BE49-F238E27FC236}">
                  <a16:creationId xmlns="" xmlns:a16="http://schemas.microsoft.com/office/drawing/2014/main" id="{E9A10313-30A5-40BC-832E-040BDBF6A892}"/>
                </a:ext>
              </a:extLst>
            </p:cNvPr>
            <p:cNvSpPr/>
            <p:nvPr userDrawn="1"/>
          </p:nvSpPr>
          <p:spPr>
            <a:xfrm>
              <a:off x="2616696" y="-1"/>
              <a:ext cx="2804040" cy="3827423"/>
            </a:xfrm>
            <a:prstGeom prst="rect">
              <a:avLst/>
            </a:prstGeom>
            <a:gradFill>
              <a:gsLst>
                <a:gs pos="0">
                  <a:schemeClr val="bg1"/>
                </a:gs>
                <a:gs pos="38000">
                  <a:schemeClr val="bg1">
                    <a:lumMod val="95000"/>
                  </a:schemeClr>
                </a:gs>
                <a:gs pos="100000">
                  <a:schemeClr val="bg1">
                    <a:lumMod val="9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 xmlns:a16="http://schemas.microsoft.com/office/drawing/2014/main" id="{14535D96-8132-4ED5-A794-E6647F561648}"/>
                </a:ext>
              </a:extLst>
            </p:cNvPr>
            <p:cNvSpPr/>
            <p:nvPr userDrawn="1"/>
          </p:nvSpPr>
          <p:spPr>
            <a:xfrm>
              <a:off x="6096000" y="4314881"/>
              <a:ext cx="5464709" cy="1860477"/>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21" name="Picture Placeholder 3">
            <a:extLst>
              <a:ext uri="{FF2B5EF4-FFF2-40B4-BE49-F238E27FC236}">
                <a16:creationId xmlns="" xmlns:a16="http://schemas.microsoft.com/office/drawing/2014/main" id="{05457BF1-1865-430B-9F87-B4B7EA8F1B24}"/>
              </a:ext>
            </a:extLst>
          </p:cNvPr>
          <p:cNvSpPr>
            <a:spLocks noGrp="1"/>
          </p:cNvSpPr>
          <p:nvPr>
            <p:ph type="pic" sz="quarter" idx="10"/>
          </p:nvPr>
        </p:nvSpPr>
        <p:spPr>
          <a:xfrm>
            <a:off x="8853056"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2" name="Picture Placeholder 3">
            <a:extLst>
              <a:ext uri="{FF2B5EF4-FFF2-40B4-BE49-F238E27FC236}">
                <a16:creationId xmlns="" xmlns:a16="http://schemas.microsoft.com/office/drawing/2014/main" id="{12C577B2-1A5D-4C64-974E-E61E38AD51FC}"/>
              </a:ext>
            </a:extLst>
          </p:cNvPr>
          <p:cNvSpPr>
            <a:spLocks noGrp="1"/>
          </p:cNvSpPr>
          <p:nvPr>
            <p:ph type="pic" sz="quarter" idx="11"/>
          </p:nvPr>
        </p:nvSpPr>
        <p:spPr>
          <a:xfrm>
            <a:off x="5658676" y="764"/>
            <a:ext cx="2956440"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17E6A30A-185F-404C-9272-8A4F01B68710}"/>
              </a:ext>
            </a:extLst>
          </p:cNvPr>
          <p:cNvSpPr>
            <a:spLocks noGrp="1"/>
          </p:cNvSpPr>
          <p:nvPr>
            <p:ph type="pic" sz="quarter" idx="12"/>
          </p:nvPr>
        </p:nvSpPr>
        <p:spPr>
          <a:xfrm>
            <a:off x="2724172"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36047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0F54A616-1A2D-4D97-A601-295F46490C74}"/>
              </a:ext>
            </a:extLst>
          </p:cNvPr>
          <p:cNvGrpSpPr/>
          <p:nvPr userDrawn="1"/>
        </p:nvGrpSpPr>
        <p:grpSpPr>
          <a:xfrm>
            <a:off x="0" y="0"/>
            <a:ext cx="11551457" cy="6840788"/>
            <a:chOff x="0" y="0"/>
            <a:chExt cx="11551457" cy="6840788"/>
          </a:xfrm>
        </p:grpSpPr>
        <p:sp>
          <p:nvSpPr>
            <p:cNvPr id="49" name="Freeform: Shape 48">
              <a:extLst>
                <a:ext uri="{FF2B5EF4-FFF2-40B4-BE49-F238E27FC236}">
                  <a16:creationId xmlns="" xmlns:a16="http://schemas.microsoft.com/office/drawing/2014/main" id="{D0A60C85-0577-43E8-925B-5BE3D3C5814A}"/>
                </a:ext>
              </a:extLst>
            </p:cNvPr>
            <p:cNvSpPr/>
            <p:nvPr userDrawn="1"/>
          </p:nvSpPr>
          <p:spPr>
            <a:xfrm>
              <a:off x="0" y="1524001"/>
              <a:ext cx="1199347" cy="2862780"/>
            </a:xfrm>
            <a:custGeom>
              <a:avLst/>
              <a:gdLst>
                <a:gd name="connsiteX0" fmla="*/ 0 w 1199347"/>
                <a:gd name="connsiteY0" fmla="*/ 0 h 2862780"/>
                <a:gd name="connsiteX1" fmla="*/ 919649 w 1199347"/>
                <a:gd name="connsiteY1" fmla="*/ 0 h 2862780"/>
                <a:gd name="connsiteX2" fmla="*/ 1199347 w 1199347"/>
                <a:gd name="connsiteY2" fmla="*/ 246450 h 2862780"/>
                <a:gd name="connsiteX3" fmla="*/ 1199347 w 1199347"/>
                <a:gd name="connsiteY3" fmla="*/ 2616331 h 2862780"/>
                <a:gd name="connsiteX4" fmla="*/ 919649 w 1199347"/>
                <a:gd name="connsiteY4" fmla="*/ 2862780 h 2862780"/>
                <a:gd name="connsiteX5" fmla="*/ 0 w 1199347"/>
                <a:gd name="connsiteY5" fmla="*/ 286278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347" h="2862780">
                  <a:moveTo>
                    <a:pt x="0" y="0"/>
                  </a:moveTo>
                  <a:lnTo>
                    <a:pt x="919649" y="0"/>
                  </a:lnTo>
                  <a:cubicBezTo>
                    <a:pt x="1074122" y="0"/>
                    <a:pt x="1199347" y="110339"/>
                    <a:pt x="1199347" y="246450"/>
                  </a:cubicBezTo>
                  <a:lnTo>
                    <a:pt x="1199347" y="2616331"/>
                  </a:lnTo>
                  <a:cubicBezTo>
                    <a:pt x="1199347" y="2752441"/>
                    <a:pt x="1074122" y="2862780"/>
                    <a:pt x="919649" y="2862780"/>
                  </a:cubicBezTo>
                  <a:lnTo>
                    <a:pt x="0" y="2862780"/>
                  </a:ln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 xmlns:a16="http://schemas.microsoft.com/office/drawing/2014/main" id="{0E540F5B-AD52-454D-97F5-F9F54D872737}"/>
                </a:ext>
              </a:extLst>
            </p:cNvPr>
            <p:cNvSpPr/>
            <p:nvPr userDrawn="1"/>
          </p:nvSpPr>
          <p:spPr>
            <a:xfrm>
              <a:off x="1673615"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 xmlns:a16="http://schemas.microsoft.com/office/drawing/2014/main" id="{BE8FC7AC-6EAE-44F5-9B2F-9AB0C9A53937}"/>
                </a:ext>
              </a:extLst>
            </p:cNvPr>
            <p:cNvSpPr/>
            <p:nvPr userDrawn="1"/>
          </p:nvSpPr>
          <p:spPr>
            <a:xfrm>
              <a:off x="1673615" y="5262510"/>
              <a:ext cx="2302796" cy="1578278"/>
            </a:xfrm>
            <a:custGeom>
              <a:avLst/>
              <a:gdLst>
                <a:gd name="connsiteX0" fmla="*/ 279698 w 2302796"/>
                <a:gd name="connsiteY0" fmla="*/ 0 h 1578278"/>
                <a:gd name="connsiteX1" fmla="*/ 2023098 w 2302796"/>
                <a:gd name="connsiteY1" fmla="*/ 0 h 1578278"/>
                <a:gd name="connsiteX2" fmla="*/ 2302796 w 2302796"/>
                <a:gd name="connsiteY2" fmla="*/ 246450 h 1578278"/>
                <a:gd name="connsiteX3" fmla="*/ 2302796 w 2302796"/>
                <a:gd name="connsiteY3" fmla="*/ 1578278 h 1578278"/>
                <a:gd name="connsiteX4" fmla="*/ 0 w 2302796"/>
                <a:gd name="connsiteY4" fmla="*/ 1578278 h 1578278"/>
                <a:gd name="connsiteX5" fmla="*/ 0 w 2302796"/>
                <a:gd name="connsiteY5" fmla="*/ 246450 h 1578278"/>
                <a:gd name="connsiteX6" fmla="*/ 279698 w 2302796"/>
                <a:gd name="connsiteY6" fmla="*/ 0 h 157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796" h="1578278">
                  <a:moveTo>
                    <a:pt x="279698" y="0"/>
                  </a:moveTo>
                  <a:lnTo>
                    <a:pt x="2023098" y="0"/>
                  </a:lnTo>
                  <a:cubicBezTo>
                    <a:pt x="2177571" y="0"/>
                    <a:pt x="2302796" y="110340"/>
                    <a:pt x="2302796" y="246450"/>
                  </a:cubicBezTo>
                  <a:lnTo>
                    <a:pt x="2302796" y="1578278"/>
                  </a:lnTo>
                  <a:lnTo>
                    <a:pt x="0" y="1578278"/>
                  </a:lnTo>
                  <a:lnTo>
                    <a:pt x="0" y="246450"/>
                  </a:lnTo>
                  <a:cubicBezTo>
                    <a:pt x="0" y="110340"/>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 xmlns:a16="http://schemas.microsoft.com/office/drawing/2014/main" id="{FCD5206E-7993-4FB7-9AA2-E01D5AE34FDD}"/>
                </a:ext>
              </a:extLst>
            </p:cNvPr>
            <p:cNvSpPr/>
            <p:nvPr userDrawn="1"/>
          </p:nvSpPr>
          <p:spPr>
            <a:xfrm>
              <a:off x="1657459" y="0"/>
              <a:ext cx="2302796" cy="1235308"/>
            </a:xfrm>
            <a:custGeom>
              <a:avLst/>
              <a:gdLst>
                <a:gd name="connsiteX0" fmla="*/ 0 w 2302796"/>
                <a:gd name="connsiteY0" fmla="*/ 0 h 1235308"/>
                <a:gd name="connsiteX1" fmla="*/ 2302796 w 2302796"/>
                <a:gd name="connsiteY1" fmla="*/ 0 h 1235308"/>
                <a:gd name="connsiteX2" fmla="*/ 2302796 w 2302796"/>
                <a:gd name="connsiteY2" fmla="*/ 988859 h 1235308"/>
                <a:gd name="connsiteX3" fmla="*/ 2023098 w 2302796"/>
                <a:gd name="connsiteY3" fmla="*/ 1235308 h 1235308"/>
                <a:gd name="connsiteX4" fmla="*/ 279698 w 2302796"/>
                <a:gd name="connsiteY4" fmla="*/ 1235308 h 1235308"/>
                <a:gd name="connsiteX5" fmla="*/ 0 w 2302796"/>
                <a:gd name="connsiteY5" fmla="*/ 988859 h 12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2796" h="1235308">
                  <a:moveTo>
                    <a:pt x="0" y="0"/>
                  </a:moveTo>
                  <a:lnTo>
                    <a:pt x="2302796" y="0"/>
                  </a:lnTo>
                  <a:lnTo>
                    <a:pt x="2302796" y="988859"/>
                  </a:lnTo>
                  <a:cubicBezTo>
                    <a:pt x="2302796" y="1124969"/>
                    <a:pt x="2177571" y="1235308"/>
                    <a:pt x="2023098" y="1235308"/>
                  </a:cubicBezTo>
                  <a:lnTo>
                    <a:pt x="279698" y="1235308"/>
                  </a:lnTo>
                  <a:cubicBezTo>
                    <a:pt x="125225" y="1235308"/>
                    <a:pt x="0" y="1124969"/>
                    <a:pt x="0" y="988859"/>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 xmlns:a16="http://schemas.microsoft.com/office/drawing/2014/main" id="{AD7B1EFC-A99D-4A5E-AF21-4ECB997B73EA}"/>
                </a:ext>
              </a:extLst>
            </p:cNvPr>
            <p:cNvSpPr/>
            <p:nvPr userDrawn="1"/>
          </p:nvSpPr>
          <p:spPr>
            <a:xfrm>
              <a:off x="7154954"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 xmlns:a16="http://schemas.microsoft.com/office/drawing/2014/main" id="{87350039-246A-4A26-AA5B-AC578F9350AA}"/>
                </a:ext>
              </a:extLst>
            </p:cNvPr>
            <p:cNvSpPr/>
            <p:nvPr userDrawn="1"/>
          </p:nvSpPr>
          <p:spPr>
            <a:xfrm>
              <a:off x="9904539" y="1524001"/>
              <a:ext cx="1646918" cy="2862780"/>
            </a:xfrm>
            <a:custGeom>
              <a:avLst/>
              <a:gdLst>
                <a:gd name="connsiteX0" fmla="*/ 279698 w 1646918"/>
                <a:gd name="connsiteY0" fmla="*/ 0 h 2862780"/>
                <a:gd name="connsiteX1" fmla="*/ 1646918 w 1646918"/>
                <a:gd name="connsiteY1" fmla="*/ 0 h 2862780"/>
                <a:gd name="connsiteX2" fmla="*/ 1646918 w 1646918"/>
                <a:gd name="connsiteY2" fmla="*/ 2862780 h 2862780"/>
                <a:gd name="connsiteX3" fmla="*/ 279698 w 1646918"/>
                <a:gd name="connsiteY3" fmla="*/ 2862780 h 2862780"/>
                <a:gd name="connsiteX4" fmla="*/ 0 w 1646918"/>
                <a:gd name="connsiteY4" fmla="*/ 2616331 h 2862780"/>
                <a:gd name="connsiteX5" fmla="*/ 0 w 1646918"/>
                <a:gd name="connsiteY5" fmla="*/ 246450 h 2862780"/>
                <a:gd name="connsiteX6" fmla="*/ 279698 w 1646918"/>
                <a:gd name="connsiteY6" fmla="*/ 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18" h="2862780">
                  <a:moveTo>
                    <a:pt x="279698" y="0"/>
                  </a:moveTo>
                  <a:lnTo>
                    <a:pt x="1646918" y="0"/>
                  </a:lnTo>
                  <a:lnTo>
                    <a:pt x="1646918" y="2862780"/>
                  </a:lnTo>
                  <a:lnTo>
                    <a:pt x="279698" y="2862780"/>
                  </a:lnTo>
                  <a:cubicBezTo>
                    <a:pt x="125225" y="2862780"/>
                    <a:pt x="0" y="2752441"/>
                    <a:pt x="0" y="2616331"/>
                  </a:cubicBezTo>
                  <a:lnTo>
                    <a:pt x="0" y="246450"/>
                  </a:lnTo>
                  <a:cubicBezTo>
                    <a:pt x="0" y="110339"/>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63" name="Picture Placeholder 62">
            <a:extLst>
              <a:ext uri="{FF2B5EF4-FFF2-40B4-BE49-F238E27FC236}">
                <a16:creationId xmlns="" xmlns:a16="http://schemas.microsoft.com/office/drawing/2014/main" id="{64F0C9B0-3BB1-42A0-AFE4-016549EA67CE}"/>
              </a:ext>
            </a:extLst>
          </p:cNvPr>
          <p:cNvSpPr>
            <a:spLocks noGrp="1"/>
          </p:cNvSpPr>
          <p:nvPr>
            <p:ph type="pic" sz="quarter" idx="15"/>
          </p:nvPr>
        </p:nvSpPr>
        <p:spPr>
          <a:xfrm>
            <a:off x="10028471" y="1678070"/>
            <a:ext cx="1522986" cy="2554642"/>
          </a:xfrm>
          <a:custGeom>
            <a:avLst/>
            <a:gdLst>
              <a:gd name="connsiteX0" fmla="*/ 249591 w 1522986"/>
              <a:gd name="connsiteY0" fmla="*/ 0 h 2554642"/>
              <a:gd name="connsiteX1" fmla="*/ 1522986 w 1522986"/>
              <a:gd name="connsiteY1" fmla="*/ 0 h 2554642"/>
              <a:gd name="connsiteX2" fmla="*/ 1522986 w 1522986"/>
              <a:gd name="connsiteY2" fmla="*/ 2554642 h 2554642"/>
              <a:gd name="connsiteX3" fmla="*/ 249591 w 1522986"/>
              <a:gd name="connsiteY3" fmla="*/ 2554642 h 2554642"/>
              <a:gd name="connsiteX4" fmla="*/ 0 w 1522986"/>
              <a:gd name="connsiteY4" fmla="*/ 2334720 h 2554642"/>
              <a:gd name="connsiteX5" fmla="*/ 0 w 1522986"/>
              <a:gd name="connsiteY5" fmla="*/ 219922 h 2554642"/>
              <a:gd name="connsiteX6" fmla="*/ 249591 w 1522986"/>
              <a:gd name="connsiteY6"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2986" h="2554642">
                <a:moveTo>
                  <a:pt x="249591" y="0"/>
                </a:moveTo>
                <a:lnTo>
                  <a:pt x="1522986" y="0"/>
                </a:lnTo>
                <a:lnTo>
                  <a:pt x="1522986" y="2554642"/>
                </a:lnTo>
                <a:lnTo>
                  <a:pt x="249591" y="2554642"/>
                </a:lnTo>
                <a:cubicBezTo>
                  <a:pt x="111746" y="2554642"/>
                  <a:pt x="0" y="2456180"/>
                  <a:pt x="0" y="2334720"/>
                </a:cubicBezTo>
                <a:lnTo>
                  <a:pt x="0" y="219922"/>
                </a:lnTo>
                <a:cubicBezTo>
                  <a:pt x="0" y="98463"/>
                  <a:pt x="111746" y="0"/>
                  <a:pt x="24959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4" name="Picture Placeholder 63">
            <a:extLst>
              <a:ext uri="{FF2B5EF4-FFF2-40B4-BE49-F238E27FC236}">
                <a16:creationId xmlns="" xmlns:a16="http://schemas.microsoft.com/office/drawing/2014/main" id="{9A00435B-AB81-40F7-B7FB-FF63F695B35A}"/>
              </a:ext>
            </a:extLst>
          </p:cNvPr>
          <p:cNvSpPr>
            <a:spLocks noGrp="1"/>
          </p:cNvSpPr>
          <p:nvPr>
            <p:ph type="pic" sz="quarter" idx="14"/>
          </p:nvPr>
        </p:nvSpPr>
        <p:spPr>
          <a:xfrm>
            <a:off x="7278887"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5" name="Picture Placeholder 64">
            <a:extLst>
              <a:ext uri="{FF2B5EF4-FFF2-40B4-BE49-F238E27FC236}">
                <a16:creationId xmlns="" xmlns:a16="http://schemas.microsoft.com/office/drawing/2014/main" id="{5DF2E8F0-11E2-4E1E-9B8C-431C6119DB78}"/>
              </a:ext>
            </a:extLst>
          </p:cNvPr>
          <p:cNvSpPr>
            <a:spLocks noGrp="1"/>
          </p:cNvSpPr>
          <p:nvPr>
            <p:ph type="pic" sz="quarter" idx="13"/>
          </p:nvPr>
        </p:nvSpPr>
        <p:spPr>
          <a:xfrm>
            <a:off x="1797548" y="5433792"/>
            <a:ext cx="2054931" cy="1424209"/>
          </a:xfrm>
          <a:custGeom>
            <a:avLst/>
            <a:gdLst>
              <a:gd name="connsiteX0" fmla="*/ 249592 w 2054931"/>
              <a:gd name="connsiteY0" fmla="*/ 0 h 1424209"/>
              <a:gd name="connsiteX1" fmla="*/ 1805340 w 2054931"/>
              <a:gd name="connsiteY1" fmla="*/ 0 h 1424209"/>
              <a:gd name="connsiteX2" fmla="*/ 2054931 w 2054931"/>
              <a:gd name="connsiteY2" fmla="*/ 219922 h 1424209"/>
              <a:gd name="connsiteX3" fmla="*/ 2054931 w 2054931"/>
              <a:gd name="connsiteY3" fmla="*/ 1424209 h 1424209"/>
              <a:gd name="connsiteX4" fmla="*/ 0 w 2054931"/>
              <a:gd name="connsiteY4" fmla="*/ 1424209 h 1424209"/>
              <a:gd name="connsiteX5" fmla="*/ 0 w 2054931"/>
              <a:gd name="connsiteY5" fmla="*/ 219922 h 1424209"/>
              <a:gd name="connsiteX6" fmla="*/ 249592 w 2054931"/>
              <a:gd name="connsiteY6" fmla="*/ 0 h 14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931" h="1424209">
                <a:moveTo>
                  <a:pt x="249592" y="0"/>
                </a:moveTo>
                <a:lnTo>
                  <a:pt x="1805340" y="0"/>
                </a:lnTo>
                <a:cubicBezTo>
                  <a:pt x="1943185" y="0"/>
                  <a:pt x="2054931" y="98463"/>
                  <a:pt x="2054931" y="219922"/>
                </a:cubicBezTo>
                <a:lnTo>
                  <a:pt x="2054931" y="1424209"/>
                </a:lnTo>
                <a:lnTo>
                  <a:pt x="0" y="1424209"/>
                </a:ln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6" name="Picture Placeholder 65">
            <a:extLst>
              <a:ext uri="{FF2B5EF4-FFF2-40B4-BE49-F238E27FC236}">
                <a16:creationId xmlns="" xmlns:a16="http://schemas.microsoft.com/office/drawing/2014/main" id="{F16763F4-272C-4A22-B23F-13EF7B573BB2}"/>
              </a:ext>
            </a:extLst>
          </p:cNvPr>
          <p:cNvSpPr>
            <a:spLocks noGrp="1"/>
          </p:cNvSpPr>
          <p:nvPr>
            <p:ph type="pic" sz="quarter" idx="12"/>
          </p:nvPr>
        </p:nvSpPr>
        <p:spPr>
          <a:xfrm>
            <a:off x="1797548"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7" name="Picture Placeholder 66">
            <a:extLst>
              <a:ext uri="{FF2B5EF4-FFF2-40B4-BE49-F238E27FC236}">
                <a16:creationId xmlns="" xmlns:a16="http://schemas.microsoft.com/office/drawing/2014/main" id="{68B8A607-5333-44A0-BDAB-ACBC961A1B09}"/>
              </a:ext>
            </a:extLst>
          </p:cNvPr>
          <p:cNvSpPr>
            <a:spLocks noGrp="1"/>
          </p:cNvSpPr>
          <p:nvPr>
            <p:ph type="pic" sz="quarter" idx="11"/>
          </p:nvPr>
        </p:nvSpPr>
        <p:spPr>
          <a:xfrm>
            <a:off x="1781392" y="1"/>
            <a:ext cx="2054931" cy="1081239"/>
          </a:xfrm>
          <a:custGeom>
            <a:avLst/>
            <a:gdLst>
              <a:gd name="connsiteX0" fmla="*/ 0 w 2054931"/>
              <a:gd name="connsiteY0" fmla="*/ 0 h 1081239"/>
              <a:gd name="connsiteX1" fmla="*/ 2054931 w 2054931"/>
              <a:gd name="connsiteY1" fmla="*/ 0 h 1081239"/>
              <a:gd name="connsiteX2" fmla="*/ 2054931 w 2054931"/>
              <a:gd name="connsiteY2" fmla="*/ 861317 h 1081239"/>
              <a:gd name="connsiteX3" fmla="*/ 1805340 w 2054931"/>
              <a:gd name="connsiteY3" fmla="*/ 1081239 h 1081239"/>
              <a:gd name="connsiteX4" fmla="*/ 249592 w 2054931"/>
              <a:gd name="connsiteY4" fmla="*/ 1081239 h 1081239"/>
              <a:gd name="connsiteX5" fmla="*/ 0 w 2054931"/>
              <a:gd name="connsiteY5" fmla="*/ 861317 h 108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4931" h="1081239">
                <a:moveTo>
                  <a:pt x="0" y="0"/>
                </a:moveTo>
                <a:lnTo>
                  <a:pt x="2054931" y="0"/>
                </a:lnTo>
                <a:lnTo>
                  <a:pt x="2054931" y="861317"/>
                </a:lnTo>
                <a:cubicBezTo>
                  <a:pt x="2054931" y="982777"/>
                  <a:pt x="1943185" y="1081239"/>
                  <a:pt x="1805340" y="1081239"/>
                </a:cubicBezTo>
                <a:lnTo>
                  <a:pt x="249592" y="1081239"/>
                </a:lnTo>
                <a:cubicBezTo>
                  <a:pt x="111746" y="1081239"/>
                  <a:pt x="0" y="982777"/>
                  <a:pt x="0" y="861317"/>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8" name="Picture Placeholder 67">
            <a:extLst>
              <a:ext uri="{FF2B5EF4-FFF2-40B4-BE49-F238E27FC236}">
                <a16:creationId xmlns="" xmlns:a16="http://schemas.microsoft.com/office/drawing/2014/main" id="{338B3CA0-8AA5-45F3-B721-3C29A066A875}"/>
              </a:ext>
            </a:extLst>
          </p:cNvPr>
          <p:cNvSpPr>
            <a:spLocks noGrp="1"/>
          </p:cNvSpPr>
          <p:nvPr>
            <p:ph type="pic" sz="quarter" idx="10"/>
          </p:nvPr>
        </p:nvSpPr>
        <p:spPr>
          <a:xfrm>
            <a:off x="1" y="1678070"/>
            <a:ext cx="1055833" cy="2554642"/>
          </a:xfrm>
          <a:custGeom>
            <a:avLst/>
            <a:gdLst>
              <a:gd name="connsiteX0" fmla="*/ 0 w 1055833"/>
              <a:gd name="connsiteY0" fmla="*/ 0 h 2554642"/>
              <a:gd name="connsiteX1" fmla="*/ 806242 w 1055833"/>
              <a:gd name="connsiteY1" fmla="*/ 0 h 2554642"/>
              <a:gd name="connsiteX2" fmla="*/ 1055833 w 1055833"/>
              <a:gd name="connsiteY2" fmla="*/ 219922 h 2554642"/>
              <a:gd name="connsiteX3" fmla="*/ 1055833 w 1055833"/>
              <a:gd name="connsiteY3" fmla="*/ 2334720 h 2554642"/>
              <a:gd name="connsiteX4" fmla="*/ 806242 w 1055833"/>
              <a:gd name="connsiteY4" fmla="*/ 2554642 h 2554642"/>
              <a:gd name="connsiteX5" fmla="*/ 0 w 1055833"/>
              <a:gd name="connsiteY5" fmla="*/ 2554642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833" h="2554642">
                <a:moveTo>
                  <a:pt x="0" y="0"/>
                </a:moveTo>
                <a:lnTo>
                  <a:pt x="806242" y="0"/>
                </a:lnTo>
                <a:cubicBezTo>
                  <a:pt x="944087" y="0"/>
                  <a:pt x="1055833" y="98463"/>
                  <a:pt x="1055833" y="219922"/>
                </a:cubicBezTo>
                <a:lnTo>
                  <a:pt x="1055833" y="2334720"/>
                </a:lnTo>
                <a:cubicBezTo>
                  <a:pt x="1055833" y="2456180"/>
                  <a:pt x="944087" y="2554642"/>
                  <a:pt x="806242" y="2554642"/>
                </a:cubicBezTo>
                <a:lnTo>
                  <a:pt x="0" y="2554642"/>
                </a:ln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94832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D0A899D5-1FD7-41E6-8231-5D755AE029F2}"/>
              </a:ext>
            </a:extLst>
          </p:cNvPr>
          <p:cNvSpPr>
            <a:spLocks noGrp="1"/>
          </p:cNvSpPr>
          <p:nvPr>
            <p:ph type="pic" sz="quarter" idx="10"/>
          </p:nvPr>
        </p:nvSpPr>
        <p:spPr>
          <a:xfrm>
            <a:off x="0" y="0"/>
            <a:ext cx="12192000" cy="6858000"/>
          </a:xfrm>
          <a:pattFill prst="pct5">
            <a:fgClr>
              <a:schemeClr val="accent1"/>
            </a:fgClr>
            <a:bgClr>
              <a:schemeClr val="bg1"/>
            </a:bgClr>
          </a:pattFill>
        </p:spPr>
        <p:txBody>
          <a:bodyPr>
            <a:norm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613832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21" name="Picture Placeholder 63">
            <a:extLst>
              <a:ext uri="{FF2B5EF4-FFF2-40B4-BE49-F238E27FC236}">
                <a16:creationId xmlns="" xmlns:a16="http://schemas.microsoft.com/office/drawing/2014/main" id="{279B95B6-1569-409E-9236-38C662B7B667}"/>
              </a:ext>
            </a:extLst>
          </p:cNvPr>
          <p:cNvSpPr>
            <a:spLocks noGrp="1"/>
          </p:cNvSpPr>
          <p:nvPr>
            <p:ph type="pic" sz="quarter" idx="14"/>
          </p:nvPr>
        </p:nvSpPr>
        <p:spPr>
          <a:xfrm>
            <a:off x="1150810" y="3091641"/>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2" name="Picture Placeholder 63">
            <a:extLst>
              <a:ext uri="{FF2B5EF4-FFF2-40B4-BE49-F238E27FC236}">
                <a16:creationId xmlns="" xmlns:a16="http://schemas.microsoft.com/office/drawing/2014/main" id="{BEF2FD58-728B-4F45-BB04-475A4483BD2B}"/>
              </a:ext>
            </a:extLst>
          </p:cNvPr>
          <p:cNvSpPr>
            <a:spLocks noGrp="1"/>
          </p:cNvSpPr>
          <p:nvPr>
            <p:ph type="pic" sz="quarter" idx="15"/>
          </p:nvPr>
        </p:nvSpPr>
        <p:spPr>
          <a:xfrm>
            <a:off x="296306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3" name="Picture Placeholder 63">
            <a:extLst>
              <a:ext uri="{FF2B5EF4-FFF2-40B4-BE49-F238E27FC236}">
                <a16:creationId xmlns="" xmlns:a16="http://schemas.microsoft.com/office/drawing/2014/main" id="{B2E864A9-F636-4380-ABAF-88AD70C11617}"/>
              </a:ext>
            </a:extLst>
          </p:cNvPr>
          <p:cNvSpPr>
            <a:spLocks noGrp="1"/>
          </p:cNvSpPr>
          <p:nvPr>
            <p:ph type="pic" sz="quarter" idx="16"/>
          </p:nvPr>
        </p:nvSpPr>
        <p:spPr>
          <a:xfrm>
            <a:off x="904778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4" name="Picture Placeholder 63">
            <a:extLst>
              <a:ext uri="{FF2B5EF4-FFF2-40B4-BE49-F238E27FC236}">
                <a16:creationId xmlns="" xmlns:a16="http://schemas.microsoft.com/office/drawing/2014/main" id="{06653C03-D33C-4FC8-B02C-B2850E9A2058}"/>
              </a:ext>
            </a:extLst>
          </p:cNvPr>
          <p:cNvSpPr>
            <a:spLocks noGrp="1"/>
          </p:cNvSpPr>
          <p:nvPr>
            <p:ph type="pic" sz="quarter" idx="17"/>
          </p:nvPr>
        </p:nvSpPr>
        <p:spPr>
          <a:xfrm>
            <a:off x="7191222"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5" name="Picture Placeholder 63">
            <a:extLst>
              <a:ext uri="{FF2B5EF4-FFF2-40B4-BE49-F238E27FC236}">
                <a16:creationId xmlns="" xmlns:a16="http://schemas.microsoft.com/office/drawing/2014/main" id="{8CEEC702-8112-4AC9-B168-74FD69014B5C}"/>
              </a:ext>
            </a:extLst>
          </p:cNvPr>
          <p:cNvSpPr>
            <a:spLocks noGrp="1"/>
          </p:cNvSpPr>
          <p:nvPr>
            <p:ph type="pic" sz="quarter" idx="18"/>
          </p:nvPr>
        </p:nvSpPr>
        <p:spPr>
          <a:xfrm>
            <a:off x="4667376" y="1502234"/>
            <a:ext cx="2521849" cy="4363453"/>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49524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22" name="Picture Placeholder 63">
            <a:extLst>
              <a:ext uri="{FF2B5EF4-FFF2-40B4-BE49-F238E27FC236}">
                <a16:creationId xmlns="" xmlns:a16="http://schemas.microsoft.com/office/drawing/2014/main" id="{C9601528-BE2C-414D-863B-A6D955B9A1FC}"/>
              </a:ext>
            </a:extLst>
          </p:cNvPr>
          <p:cNvSpPr>
            <a:spLocks noGrp="1"/>
          </p:cNvSpPr>
          <p:nvPr>
            <p:ph type="pic" sz="quarter" idx="14"/>
          </p:nvPr>
        </p:nvSpPr>
        <p:spPr>
          <a:xfrm>
            <a:off x="0" y="1756611"/>
            <a:ext cx="4908884" cy="2883211"/>
          </a:xfrm>
          <a:prstGeom prst="rect">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71561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22" name="Picture Placeholder 63">
            <a:extLst>
              <a:ext uri="{FF2B5EF4-FFF2-40B4-BE49-F238E27FC236}">
                <a16:creationId xmlns="" xmlns:a16="http://schemas.microsoft.com/office/drawing/2014/main" id="{53A9E5B3-505E-409D-A92C-F8D26361D6DA}"/>
              </a:ext>
            </a:extLst>
          </p:cNvPr>
          <p:cNvSpPr>
            <a:spLocks noGrp="1"/>
          </p:cNvSpPr>
          <p:nvPr>
            <p:ph type="pic" sz="quarter" idx="18"/>
          </p:nvPr>
        </p:nvSpPr>
        <p:spPr>
          <a:xfrm>
            <a:off x="4591177" y="1210532"/>
            <a:ext cx="2837906" cy="4436937"/>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6461626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A13CF4D1-ABE7-4EF6-AAD9-D1BFAA76931C}"/>
              </a:ext>
            </a:extLst>
          </p:cNvPr>
          <p:cNvGrpSpPr/>
          <p:nvPr userDrawn="1"/>
        </p:nvGrpSpPr>
        <p:grpSpPr>
          <a:xfrm>
            <a:off x="1172996" y="2374939"/>
            <a:ext cx="9536328" cy="3392906"/>
            <a:chOff x="1172996" y="2374939"/>
            <a:chExt cx="9536328" cy="3392906"/>
          </a:xfrm>
        </p:grpSpPr>
        <p:sp>
          <p:nvSpPr>
            <p:cNvPr id="21" name="Rectangle 20">
              <a:extLst>
                <a:ext uri="{FF2B5EF4-FFF2-40B4-BE49-F238E27FC236}">
                  <a16:creationId xmlns="" xmlns:a16="http://schemas.microsoft.com/office/drawing/2014/main" id="{66D30B58-5DAC-4FC0-834C-27234FAA3AAC}"/>
                </a:ext>
              </a:extLst>
            </p:cNvPr>
            <p:cNvSpPr/>
            <p:nvPr userDrawn="1"/>
          </p:nvSpPr>
          <p:spPr>
            <a:xfrm>
              <a:off x="1172996"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3" name="Rectangle 22">
              <a:extLst>
                <a:ext uri="{FF2B5EF4-FFF2-40B4-BE49-F238E27FC236}">
                  <a16:creationId xmlns="" xmlns:a16="http://schemas.microsoft.com/office/drawing/2014/main" id="{E7E6931B-E235-4C24-9BC8-E31A7E870110}"/>
                </a:ext>
              </a:extLst>
            </p:cNvPr>
            <p:cNvSpPr/>
            <p:nvPr userDrawn="1"/>
          </p:nvSpPr>
          <p:spPr>
            <a:xfrm>
              <a:off x="6329780"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527707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6A9350FF-12C9-4839-8A5A-9C41348C6035}"/>
              </a:ext>
            </a:extLst>
          </p:cNvPr>
          <p:cNvSpPr/>
          <p:nvPr userDrawn="1"/>
        </p:nvSpPr>
        <p:spPr>
          <a:xfrm>
            <a:off x="1162563" y="845127"/>
            <a:ext cx="4450362" cy="5278581"/>
          </a:xfrm>
          <a:prstGeom prst="rect">
            <a:avLst/>
          </a:prstGeom>
          <a:solidFill>
            <a:schemeClr val="bg1"/>
          </a:solidFill>
          <a:ln>
            <a:noFill/>
          </a:ln>
          <a:effectLst>
            <a:outerShdw blurRad="215900" dist="38100" dir="5400000" algn="t"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7573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6EC79083-4048-4A0D-91AB-C291682C28B0}"/>
              </a:ext>
            </a:extLst>
          </p:cNvPr>
          <p:cNvGrpSpPr/>
          <p:nvPr userDrawn="1"/>
        </p:nvGrpSpPr>
        <p:grpSpPr>
          <a:xfrm>
            <a:off x="1713572" y="2646835"/>
            <a:ext cx="8414526" cy="3396274"/>
            <a:chOff x="1713572" y="2646835"/>
            <a:chExt cx="8414526" cy="3396274"/>
          </a:xfrm>
        </p:grpSpPr>
        <p:sp>
          <p:nvSpPr>
            <p:cNvPr id="22" name="Rectangle: Rounded Corners 21">
              <a:extLst>
                <a:ext uri="{FF2B5EF4-FFF2-40B4-BE49-F238E27FC236}">
                  <a16:creationId xmlns="" xmlns:a16="http://schemas.microsoft.com/office/drawing/2014/main" id="{F3CBADE6-8450-428C-89F7-FEA29E0C5C6E}"/>
                </a:ext>
              </a:extLst>
            </p:cNvPr>
            <p:cNvSpPr/>
            <p:nvPr userDrawn="1"/>
          </p:nvSpPr>
          <p:spPr>
            <a:xfrm>
              <a:off x="1713572" y="2646835"/>
              <a:ext cx="2303202" cy="3396274"/>
            </a:xfrm>
            <a:prstGeom prst="roundRect">
              <a:avLst>
                <a:gd name="adj" fmla="val 6334"/>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 xmlns:a16="http://schemas.microsoft.com/office/drawing/2014/main" id="{C3B8CC76-F238-4917-8D42-32EB71F9DD87}"/>
                </a:ext>
              </a:extLst>
            </p:cNvPr>
            <p:cNvSpPr/>
            <p:nvPr userDrawn="1"/>
          </p:nvSpPr>
          <p:spPr>
            <a:xfrm>
              <a:off x="7824896"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 xmlns:a16="http://schemas.microsoft.com/office/drawing/2014/main" id="{AC9CF5AA-ED8C-4C4D-8DC7-3FC9F0E3FDE4}"/>
                </a:ext>
              </a:extLst>
            </p:cNvPr>
            <p:cNvSpPr/>
            <p:nvPr userDrawn="1"/>
          </p:nvSpPr>
          <p:spPr>
            <a:xfrm>
              <a:off x="4770888"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1607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7" name="Picture Placeholder 26">
            <a:extLst>
              <a:ext uri="{FF2B5EF4-FFF2-40B4-BE49-F238E27FC236}">
                <a16:creationId xmlns="" xmlns:a16="http://schemas.microsoft.com/office/drawing/2014/main" id="{29DF0D4C-9B58-4BC6-91E0-3B6E146E0CCD}"/>
              </a:ext>
            </a:extLst>
          </p:cNvPr>
          <p:cNvSpPr>
            <a:spLocks noGrp="1"/>
          </p:cNvSpPr>
          <p:nvPr>
            <p:ph type="pic" sz="quarter" idx="19"/>
          </p:nvPr>
        </p:nvSpPr>
        <p:spPr>
          <a:xfrm>
            <a:off x="-1" y="3219450"/>
            <a:ext cx="11560710" cy="3638550"/>
          </a:xfrm>
          <a:custGeom>
            <a:avLst/>
            <a:gdLst>
              <a:gd name="connsiteX0" fmla="*/ 0 w 11560710"/>
              <a:gd name="connsiteY0" fmla="*/ 0 h 3638550"/>
              <a:gd name="connsiteX1" fmla="*/ 6497893 w 11560710"/>
              <a:gd name="connsiteY1" fmla="*/ 0 h 3638550"/>
              <a:gd name="connsiteX2" fmla="*/ 6497893 w 11560710"/>
              <a:gd name="connsiteY2" fmla="*/ 1485901 h 3638550"/>
              <a:gd name="connsiteX3" fmla="*/ 7348999 w 11560710"/>
              <a:gd name="connsiteY3" fmla="*/ 1485901 h 3638550"/>
              <a:gd name="connsiteX4" fmla="*/ 7348999 w 11560710"/>
              <a:gd name="connsiteY4" fmla="*/ 2680009 h 3638550"/>
              <a:gd name="connsiteX5" fmla="*/ 10709343 w 11560710"/>
              <a:gd name="connsiteY5" fmla="*/ 2680009 h 3638550"/>
              <a:gd name="connsiteX6" fmla="*/ 10709343 w 11560710"/>
              <a:gd name="connsiteY6" fmla="*/ 1485901 h 3638550"/>
              <a:gd name="connsiteX7" fmla="*/ 11560449 w 11560710"/>
              <a:gd name="connsiteY7" fmla="*/ 1485901 h 3638550"/>
              <a:gd name="connsiteX8" fmla="*/ 11560449 w 11560710"/>
              <a:gd name="connsiteY8" fmla="*/ 0 h 3638550"/>
              <a:gd name="connsiteX9" fmla="*/ 11560710 w 11560710"/>
              <a:gd name="connsiteY9" fmla="*/ 0 h 3638550"/>
              <a:gd name="connsiteX10" fmla="*/ 11560710 w 11560710"/>
              <a:gd name="connsiteY10" fmla="*/ 3638550 h 3638550"/>
              <a:gd name="connsiteX11" fmla="*/ 0 w 11560710"/>
              <a:gd name="connsiteY11" fmla="*/ 3638550 h 363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0710" h="3638550">
                <a:moveTo>
                  <a:pt x="0" y="0"/>
                </a:moveTo>
                <a:lnTo>
                  <a:pt x="6497893" y="0"/>
                </a:lnTo>
                <a:lnTo>
                  <a:pt x="6497893" y="1485901"/>
                </a:lnTo>
                <a:lnTo>
                  <a:pt x="7348999" y="1485901"/>
                </a:lnTo>
                <a:lnTo>
                  <a:pt x="7348999" y="2680009"/>
                </a:lnTo>
                <a:lnTo>
                  <a:pt x="10709343" y="2680009"/>
                </a:lnTo>
                <a:lnTo>
                  <a:pt x="10709343" y="1485901"/>
                </a:lnTo>
                <a:lnTo>
                  <a:pt x="11560449" y="1485901"/>
                </a:lnTo>
                <a:lnTo>
                  <a:pt x="11560449" y="0"/>
                </a:lnTo>
                <a:lnTo>
                  <a:pt x="11560710" y="0"/>
                </a:lnTo>
                <a:lnTo>
                  <a:pt x="11560710" y="3638550"/>
                </a:lnTo>
                <a:lnTo>
                  <a:pt x="0" y="3638550"/>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grpSp>
        <p:nvGrpSpPr>
          <p:cNvPr id="2" name="Group 1">
            <a:extLst>
              <a:ext uri="{FF2B5EF4-FFF2-40B4-BE49-F238E27FC236}">
                <a16:creationId xmlns="" xmlns:a16="http://schemas.microsoft.com/office/drawing/2014/main" id="{3BF05FAF-CCF6-4AAE-B850-15856F5504EF}"/>
              </a:ext>
            </a:extLst>
          </p:cNvPr>
          <p:cNvGrpSpPr/>
          <p:nvPr userDrawn="1"/>
        </p:nvGrpSpPr>
        <p:grpSpPr>
          <a:xfrm>
            <a:off x="6497892" y="1"/>
            <a:ext cx="5062556" cy="5899458"/>
            <a:chOff x="6497892" y="1"/>
            <a:chExt cx="5062556" cy="5899458"/>
          </a:xfrm>
        </p:grpSpPr>
        <p:sp>
          <p:nvSpPr>
            <p:cNvPr id="28" name="Rectangle 27">
              <a:extLst>
                <a:ext uri="{FF2B5EF4-FFF2-40B4-BE49-F238E27FC236}">
                  <a16:creationId xmlns="" xmlns:a16="http://schemas.microsoft.com/office/drawing/2014/main" id="{C8B77BE9-F942-494C-8A06-457AB175A3A1}"/>
                </a:ext>
              </a:extLst>
            </p:cNvPr>
            <p:cNvSpPr/>
            <p:nvPr userDrawn="1"/>
          </p:nvSpPr>
          <p:spPr>
            <a:xfrm>
              <a:off x="6497892" y="1"/>
              <a:ext cx="5062556" cy="4705350"/>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 xmlns:a16="http://schemas.microsoft.com/office/drawing/2014/main" id="{1151B8CE-5938-4C47-853C-C42E610DF1B8}"/>
                </a:ext>
              </a:extLst>
            </p:cNvPr>
            <p:cNvSpPr/>
            <p:nvPr userDrawn="1"/>
          </p:nvSpPr>
          <p:spPr>
            <a:xfrm>
              <a:off x="7348998" y="2554613"/>
              <a:ext cx="3360344" cy="3344846"/>
            </a:xfrm>
            <a:prstGeom prst="rect">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65844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8F1FEA92-E389-4B98-936D-B20E3A07FAD0}"/>
              </a:ext>
            </a:extLst>
          </p:cNvPr>
          <p:cNvGrpSpPr/>
          <p:nvPr userDrawn="1"/>
        </p:nvGrpSpPr>
        <p:grpSpPr>
          <a:xfrm>
            <a:off x="485661" y="632010"/>
            <a:ext cx="11074759" cy="5593980"/>
            <a:chOff x="485661" y="632010"/>
            <a:chExt cx="11074759" cy="5593980"/>
          </a:xfrm>
        </p:grpSpPr>
        <p:sp>
          <p:nvSpPr>
            <p:cNvPr id="27" name="Freeform: Shape 26">
              <a:extLst>
                <a:ext uri="{FF2B5EF4-FFF2-40B4-BE49-F238E27FC236}">
                  <a16:creationId xmlns="" xmlns:a16="http://schemas.microsoft.com/office/drawing/2014/main" id="{98DAED97-581E-46FD-A450-DDF83E7B78E1}"/>
                </a:ext>
              </a:extLst>
            </p:cNvPr>
            <p:cNvSpPr/>
            <p:nvPr userDrawn="1"/>
          </p:nvSpPr>
          <p:spPr>
            <a:xfrm>
              <a:off x="1056315" y="632010"/>
              <a:ext cx="4151789" cy="2429242"/>
            </a:xfrm>
            <a:custGeom>
              <a:avLst/>
              <a:gdLst>
                <a:gd name="connsiteX0" fmla="*/ 304804 w 3479071"/>
                <a:gd name="connsiteY0" fmla="*/ 0 h 2057400"/>
                <a:gd name="connsiteX1" fmla="*/ 3174267 w 3479071"/>
                <a:gd name="connsiteY1" fmla="*/ 0 h 2057400"/>
                <a:gd name="connsiteX2" fmla="*/ 3479071 w 3479071"/>
                <a:gd name="connsiteY2" fmla="*/ 304804 h 2057400"/>
                <a:gd name="connsiteX3" fmla="*/ 3479071 w 3479071"/>
                <a:gd name="connsiteY3" fmla="*/ 1752596 h 2057400"/>
                <a:gd name="connsiteX4" fmla="*/ 3174267 w 3479071"/>
                <a:gd name="connsiteY4" fmla="*/ 2057400 h 2057400"/>
                <a:gd name="connsiteX5" fmla="*/ 304804 w 3479071"/>
                <a:gd name="connsiteY5" fmla="*/ 2057400 h 2057400"/>
                <a:gd name="connsiteX6" fmla="*/ 0 w 3479071"/>
                <a:gd name="connsiteY6" fmla="*/ 1752596 h 2057400"/>
                <a:gd name="connsiteX7" fmla="*/ 0 w 3479071"/>
                <a:gd name="connsiteY7" fmla="*/ 304804 h 2057400"/>
                <a:gd name="connsiteX8" fmla="*/ 304804 w 3479071"/>
                <a:gd name="connsiteY8"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71" h="2057400">
                  <a:moveTo>
                    <a:pt x="304804" y="0"/>
                  </a:moveTo>
                  <a:lnTo>
                    <a:pt x="3174267" y="0"/>
                  </a:lnTo>
                  <a:cubicBezTo>
                    <a:pt x="3342606" y="0"/>
                    <a:pt x="3479071" y="136465"/>
                    <a:pt x="3479071" y="304804"/>
                  </a:cubicBezTo>
                  <a:lnTo>
                    <a:pt x="3479071" y="1752596"/>
                  </a:lnTo>
                  <a:cubicBezTo>
                    <a:pt x="3479071" y="1920935"/>
                    <a:pt x="3342606" y="2057400"/>
                    <a:pt x="3174267" y="2057400"/>
                  </a:cubicBezTo>
                  <a:lnTo>
                    <a:pt x="304804" y="2057400"/>
                  </a:lnTo>
                  <a:cubicBezTo>
                    <a:pt x="136465" y="2057400"/>
                    <a:pt x="0" y="1920935"/>
                    <a:pt x="0" y="1752596"/>
                  </a:cubicBezTo>
                  <a:lnTo>
                    <a:pt x="0" y="304804"/>
                  </a:lnTo>
                  <a:cubicBezTo>
                    <a:pt x="0" y="136465"/>
                    <a:pt x="136465" y="0"/>
                    <a:pt x="304804" y="0"/>
                  </a:cubicBezTo>
                  <a:close/>
                </a:path>
              </a:pathLst>
            </a:cu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7" name="Freeform: Shape 6">
              <a:extLst>
                <a:ext uri="{FF2B5EF4-FFF2-40B4-BE49-F238E27FC236}">
                  <a16:creationId xmlns="" xmlns:a16="http://schemas.microsoft.com/office/drawing/2014/main" id="{CADD7997-31A7-417C-8170-E18F1EC2C605}"/>
                </a:ext>
              </a:extLst>
            </p:cNvPr>
            <p:cNvSpPr/>
            <p:nvPr userDrawn="1"/>
          </p:nvSpPr>
          <p:spPr>
            <a:xfrm>
              <a:off x="5625547" y="1159782"/>
              <a:ext cx="5934873" cy="4021544"/>
            </a:xfrm>
            <a:custGeom>
              <a:avLst/>
              <a:gdLst>
                <a:gd name="connsiteX0" fmla="*/ 332340 w 5934873"/>
                <a:gd name="connsiteY0" fmla="*/ 0 h 4021544"/>
                <a:gd name="connsiteX1" fmla="*/ 5602533 w 5934873"/>
                <a:gd name="connsiteY1" fmla="*/ 0 h 4021544"/>
                <a:gd name="connsiteX2" fmla="*/ 5934873 w 5934873"/>
                <a:gd name="connsiteY2" fmla="*/ 332340 h 4021544"/>
                <a:gd name="connsiteX3" fmla="*/ 5934873 w 5934873"/>
                <a:gd name="connsiteY3" fmla="*/ 3689204 h 4021544"/>
                <a:gd name="connsiteX4" fmla="*/ 5602533 w 5934873"/>
                <a:gd name="connsiteY4" fmla="*/ 4021544 h 4021544"/>
                <a:gd name="connsiteX5" fmla="*/ 2663701 w 5934873"/>
                <a:gd name="connsiteY5" fmla="*/ 4021544 h 4021544"/>
                <a:gd name="connsiteX6" fmla="*/ 2663701 w 5934873"/>
                <a:gd name="connsiteY6" fmla="*/ 2432290 h 4021544"/>
                <a:gd name="connsiteX7" fmla="*/ 2321373 w 5934873"/>
                <a:gd name="connsiteY7" fmla="*/ 2089962 h 4021544"/>
                <a:gd name="connsiteX8" fmla="*/ 0 w 5934873"/>
                <a:gd name="connsiteY8" fmla="*/ 2089962 h 4021544"/>
                <a:gd name="connsiteX9" fmla="*/ 0 w 5934873"/>
                <a:gd name="connsiteY9" fmla="*/ 332340 h 4021544"/>
                <a:gd name="connsiteX10" fmla="*/ 332340 w 5934873"/>
                <a:gd name="connsiteY10" fmla="*/ 0 h 40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873" h="4021544">
                  <a:moveTo>
                    <a:pt x="332340" y="0"/>
                  </a:moveTo>
                  <a:lnTo>
                    <a:pt x="5602533" y="0"/>
                  </a:lnTo>
                  <a:cubicBezTo>
                    <a:pt x="5786079" y="0"/>
                    <a:pt x="5934873" y="148794"/>
                    <a:pt x="5934873" y="332340"/>
                  </a:cubicBezTo>
                  <a:lnTo>
                    <a:pt x="5934873" y="3689204"/>
                  </a:lnTo>
                  <a:cubicBezTo>
                    <a:pt x="5934873" y="3872750"/>
                    <a:pt x="5786079" y="4021544"/>
                    <a:pt x="5602533" y="4021544"/>
                  </a:cubicBezTo>
                  <a:lnTo>
                    <a:pt x="2663701" y="4021544"/>
                  </a:lnTo>
                  <a:lnTo>
                    <a:pt x="2663701" y="2432290"/>
                  </a:lnTo>
                  <a:cubicBezTo>
                    <a:pt x="2663701" y="2243227"/>
                    <a:pt x="2510436" y="2089962"/>
                    <a:pt x="2321373" y="2089962"/>
                  </a:cubicBezTo>
                  <a:lnTo>
                    <a:pt x="0" y="2089962"/>
                  </a:lnTo>
                  <a:lnTo>
                    <a:pt x="0" y="332340"/>
                  </a:lnTo>
                  <a:cubicBezTo>
                    <a:pt x="0" y="148794"/>
                    <a:pt x="148794" y="0"/>
                    <a:pt x="33234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 xmlns:a16="http://schemas.microsoft.com/office/drawing/2014/main" id="{5BCF2E6D-0C2A-48BB-A4A5-348B734F1FB6}"/>
                </a:ext>
              </a:extLst>
            </p:cNvPr>
            <p:cNvSpPr/>
            <p:nvPr userDrawn="1"/>
          </p:nvSpPr>
          <p:spPr>
            <a:xfrm>
              <a:off x="485661" y="3249744"/>
              <a:ext cx="7803587" cy="2976246"/>
            </a:xfrm>
            <a:prstGeom prst="roundRect">
              <a:avLst>
                <a:gd name="adj" fmla="val 11502"/>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31" name="Picture Placeholder 30">
            <a:extLst>
              <a:ext uri="{FF2B5EF4-FFF2-40B4-BE49-F238E27FC236}">
                <a16:creationId xmlns="" xmlns:a16="http://schemas.microsoft.com/office/drawing/2014/main" id="{215A9EDC-DBB1-4220-AE54-A8AC90F3DA32}"/>
              </a:ext>
            </a:extLst>
          </p:cNvPr>
          <p:cNvSpPr>
            <a:spLocks noGrp="1"/>
          </p:cNvSpPr>
          <p:nvPr>
            <p:ph type="pic" sz="quarter" idx="14"/>
          </p:nvPr>
        </p:nvSpPr>
        <p:spPr>
          <a:xfrm>
            <a:off x="5856157" y="1350328"/>
            <a:ext cx="5477214" cy="3640453"/>
          </a:xfrm>
          <a:custGeom>
            <a:avLst/>
            <a:gdLst>
              <a:gd name="connsiteX0" fmla="*/ 361097 w 5477214"/>
              <a:gd name="connsiteY0" fmla="*/ 0 h 3640453"/>
              <a:gd name="connsiteX1" fmla="*/ 5116117 w 5477214"/>
              <a:gd name="connsiteY1" fmla="*/ 0 h 3640453"/>
              <a:gd name="connsiteX2" fmla="*/ 5477214 w 5477214"/>
              <a:gd name="connsiteY2" fmla="*/ 361097 h 3640453"/>
              <a:gd name="connsiteX3" fmla="*/ 5477214 w 5477214"/>
              <a:gd name="connsiteY3" fmla="*/ 3279356 h 3640453"/>
              <a:gd name="connsiteX4" fmla="*/ 5116117 w 5477214"/>
              <a:gd name="connsiteY4" fmla="*/ 3640453 h 3640453"/>
              <a:gd name="connsiteX5" fmla="*/ 2492725 w 5477214"/>
              <a:gd name="connsiteY5" fmla="*/ 3640453 h 3640453"/>
              <a:gd name="connsiteX6" fmla="*/ 2492725 w 5477214"/>
              <a:gd name="connsiteY6" fmla="*/ 2162232 h 3640453"/>
              <a:gd name="connsiteX7" fmla="*/ 2150397 w 5477214"/>
              <a:gd name="connsiteY7" fmla="*/ 1819904 h 3640453"/>
              <a:gd name="connsiteX8" fmla="*/ 0 w 5477214"/>
              <a:gd name="connsiteY8" fmla="*/ 1819904 h 3640453"/>
              <a:gd name="connsiteX9" fmla="*/ 0 w 5477214"/>
              <a:gd name="connsiteY9" fmla="*/ 361097 h 3640453"/>
              <a:gd name="connsiteX10" fmla="*/ 361097 w 5477214"/>
              <a:gd name="connsiteY10" fmla="*/ 0 h 364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7214" h="3640453">
                <a:moveTo>
                  <a:pt x="361097" y="0"/>
                </a:moveTo>
                <a:lnTo>
                  <a:pt x="5116117" y="0"/>
                </a:lnTo>
                <a:cubicBezTo>
                  <a:pt x="5315545" y="0"/>
                  <a:pt x="5477214" y="161669"/>
                  <a:pt x="5477214" y="361097"/>
                </a:cubicBezTo>
                <a:lnTo>
                  <a:pt x="5477214" y="3279356"/>
                </a:lnTo>
                <a:cubicBezTo>
                  <a:pt x="5477214" y="3478784"/>
                  <a:pt x="5315545" y="3640453"/>
                  <a:pt x="5116117" y="3640453"/>
                </a:cubicBezTo>
                <a:lnTo>
                  <a:pt x="2492725" y="3640453"/>
                </a:lnTo>
                <a:lnTo>
                  <a:pt x="2492725" y="2162232"/>
                </a:lnTo>
                <a:cubicBezTo>
                  <a:pt x="2492725" y="1973169"/>
                  <a:pt x="2339460" y="1819904"/>
                  <a:pt x="2150397" y="1819904"/>
                </a:cubicBezTo>
                <a:lnTo>
                  <a:pt x="0" y="1819904"/>
                </a:lnTo>
                <a:lnTo>
                  <a:pt x="0" y="361097"/>
                </a:lnTo>
                <a:cubicBezTo>
                  <a:pt x="0" y="161669"/>
                  <a:pt x="161669" y="0"/>
                  <a:pt x="361097"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6" name="Picture Placeholder 65">
            <a:extLst>
              <a:ext uri="{FF2B5EF4-FFF2-40B4-BE49-F238E27FC236}">
                <a16:creationId xmlns="" xmlns:a16="http://schemas.microsoft.com/office/drawing/2014/main" id="{C4F5A4A2-BA6F-4EFD-A41C-266FCC26F25C}"/>
              </a:ext>
            </a:extLst>
          </p:cNvPr>
          <p:cNvSpPr>
            <a:spLocks noGrp="1"/>
          </p:cNvSpPr>
          <p:nvPr>
            <p:ph type="pic" sz="quarter" idx="12"/>
          </p:nvPr>
        </p:nvSpPr>
        <p:spPr>
          <a:xfrm>
            <a:off x="1199480" y="718947"/>
            <a:ext cx="3865458" cy="2261708"/>
          </a:xfrm>
          <a:prstGeom prst="roundRect">
            <a:avLst>
              <a:gd name="adj" fmla="val 14815"/>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58903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1985438F-FF4C-465A-AF88-BC90CDD8B4C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192000" cy="3172516"/>
          </a:xfrm>
          <a:prstGeom prst="rect">
            <a:avLst/>
          </a:prstGeom>
        </p:spPr>
      </p:pic>
      <p:sp>
        <p:nvSpPr>
          <p:cNvPr id="8" name="Rectangle 7">
            <a:extLst>
              <a:ext uri="{FF2B5EF4-FFF2-40B4-BE49-F238E27FC236}">
                <a16:creationId xmlns="" xmlns:a16="http://schemas.microsoft.com/office/drawing/2014/main" id="{3C89349A-746E-4F55-8078-4733F5DCBEDA}"/>
              </a:ext>
            </a:extLst>
          </p:cNvPr>
          <p:cNvSpPr/>
          <p:nvPr userDrawn="1"/>
        </p:nvSpPr>
        <p:spPr>
          <a:xfrm>
            <a:off x="427383" y="327991"/>
            <a:ext cx="3101008" cy="2212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914400" y="2554986"/>
            <a:ext cx="10363200" cy="1328466"/>
          </a:xfrm>
        </p:spPr>
        <p:txBody>
          <a:bodyPr vert="horz" anchor="b"/>
          <a:lstStyle>
            <a:lvl1pPr algn="ctr" rtl="0">
              <a:defRPr sz="6000" b="1" i="0">
                <a:solidFill>
                  <a:srgbClr val="1B8654"/>
                </a:solidFill>
                <a:latin typeface="GE SS Unique"/>
                <a:ea typeface="GE SS Unique"/>
                <a:cs typeface="GE SS Unique"/>
              </a:defRPr>
            </a:lvl1pPr>
          </a:lstStyle>
          <a:p>
            <a:r>
              <a:rPr lang="en-US" dirty="0"/>
              <a:t>Title</a:t>
            </a:r>
          </a:p>
        </p:txBody>
      </p:sp>
      <p:sp>
        <p:nvSpPr>
          <p:cNvPr id="3" name="Subtitle 2"/>
          <p:cNvSpPr>
            <a:spLocks noGrp="1"/>
          </p:cNvSpPr>
          <p:nvPr>
            <p:ph type="subTitle" idx="1" hasCustomPrompt="1"/>
          </p:nvPr>
        </p:nvSpPr>
        <p:spPr>
          <a:xfrm>
            <a:off x="1524000" y="3898254"/>
            <a:ext cx="9144000" cy="1655762"/>
          </a:xfrm>
        </p:spPr>
        <p:txBody>
          <a:bodyPr/>
          <a:lstStyle>
            <a:lvl1pPr marL="0" indent="0" algn="ctr" rtl="0">
              <a:buNone/>
              <a:defRPr sz="2400" b="0" i="0">
                <a:solidFill>
                  <a:srgbClr val="9F915C"/>
                </a:solidFill>
                <a:latin typeface="GE SS Unique"/>
                <a:ea typeface="GE SS Unique Light" charset="0"/>
                <a:cs typeface="GE SS Unique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4" name="Date Placeholder 3"/>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pic>
        <p:nvPicPr>
          <p:cNvPr id="9" name="Picture 8" descr="Logo, company name&#10;&#10;Description automatically generated">
            <a:extLst>
              <a:ext uri="{FF2B5EF4-FFF2-40B4-BE49-F238E27FC236}">
                <a16:creationId xmlns="" xmlns:a16="http://schemas.microsoft.com/office/drawing/2014/main" id="{42D44990-C9BF-4213-AA80-365F44D4F5A4}"/>
              </a:ext>
            </a:extLst>
          </p:cNvPr>
          <p:cNvPicPr>
            <a:picLocks noChangeAspect="1"/>
          </p:cNvPicPr>
          <p:nvPr userDrawn="1"/>
        </p:nvPicPr>
        <p:blipFill rotWithShape="1">
          <a:blip r:embed="rId7"/>
          <a:srcRect t="13517" b="11390"/>
          <a:stretch/>
        </p:blipFill>
        <p:spPr>
          <a:xfrm>
            <a:off x="586404" y="238626"/>
            <a:ext cx="2594117" cy="1947983"/>
          </a:xfrm>
          <a:prstGeom prst="rect">
            <a:avLst/>
          </a:prstGeom>
        </p:spPr>
      </p:pic>
    </p:spTree>
    <p:extLst>
      <p:ext uri="{BB962C8B-B14F-4D97-AF65-F5344CB8AC3E}">
        <p14:creationId xmlns:p14="http://schemas.microsoft.com/office/powerpoint/2010/main" val="1208914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FD6A0C6-836A-4C1A-B690-72565AB567C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931008"/>
            <a:ext cx="10515600" cy="4245955"/>
          </a:xfrm>
        </p:spPr>
        <p:txBody>
          <a:bodyPr>
            <a:normAutofit/>
          </a:bodyPr>
          <a:lstStyle>
            <a:lvl1pPr>
              <a:defRPr sz="1800" b="0" i="0">
                <a:latin typeface="GE SS Unique"/>
                <a:ea typeface="GE SS Unique Light" charset="0"/>
                <a:cs typeface="GE SS Unique Light" charset="0"/>
              </a:defRPr>
            </a:lvl1pPr>
            <a:lvl2pPr>
              <a:defRPr sz="1600" b="0" i="0">
                <a:latin typeface="GE SS Unique"/>
                <a:ea typeface="GE SS Unique Light" charset="0"/>
                <a:cs typeface="GE SS Unique Light" charset="0"/>
              </a:defRPr>
            </a:lvl2pPr>
            <a:lvl3pPr>
              <a:defRPr sz="1400" b="0" i="0">
                <a:latin typeface="GE SS Unique"/>
                <a:ea typeface="GE SS Unique Light" charset="0"/>
                <a:cs typeface="GE SS Unique Light" charset="0"/>
              </a:defRPr>
            </a:lvl3pPr>
            <a:lvl4pPr>
              <a:defRPr sz="1200" b="0" i="0">
                <a:latin typeface="GE SS Unique"/>
                <a:ea typeface="GE SS Unique Light" charset="0"/>
                <a:cs typeface="GE SS Unique Light" charset="0"/>
              </a:defRPr>
            </a:lvl4pPr>
            <a:lvl5pPr>
              <a:defRPr sz="1200" b="0" i="0">
                <a:latin typeface="GE SS Unique"/>
                <a:ea typeface="GE SS Unique Light" charset="0"/>
                <a:cs typeface="GE SS Unique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2632501" y="1630017"/>
            <a:ext cx="184730" cy="369332"/>
          </a:xfrm>
          <a:prstGeom prst="rect">
            <a:avLst/>
          </a:prstGeom>
          <a:noFill/>
        </p:spPr>
        <p:txBody>
          <a:bodyPr wrap="none" rtlCol="0">
            <a:spAutoFit/>
          </a:bodyPr>
          <a:lstStyle/>
          <a:p>
            <a:pPr algn="r" rtl="1"/>
            <a:endParaRPr lang="en-US" dirty="0">
              <a:solidFill>
                <a:srgbClr val="2A2A2C"/>
              </a:solidFill>
            </a:endParaRPr>
          </a:p>
        </p:txBody>
      </p:sp>
      <p:sp>
        <p:nvSpPr>
          <p:cNvPr id="12" name="TextBox 11"/>
          <p:cNvSpPr txBox="1"/>
          <p:nvPr userDrawn="1"/>
        </p:nvSpPr>
        <p:spPr>
          <a:xfrm>
            <a:off x="5494971" y="1848678"/>
            <a:ext cx="184730" cy="369332"/>
          </a:xfrm>
          <a:prstGeom prst="rect">
            <a:avLst/>
          </a:prstGeom>
          <a:noFill/>
        </p:spPr>
        <p:txBody>
          <a:bodyPr wrap="none" rtlCol="0">
            <a:spAutoFit/>
          </a:bodyPr>
          <a:lstStyle/>
          <a:p>
            <a:pPr algn="r" rtl="1"/>
            <a:endParaRPr lang="en-US" dirty="0">
              <a:solidFill>
                <a:srgbClr val="2A2A2C"/>
              </a:solidFill>
            </a:endParaRPr>
          </a:p>
        </p:txBody>
      </p:sp>
      <p:sp>
        <p:nvSpPr>
          <p:cNvPr id="16" name="Text Placeholder 15"/>
          <p:cNvSpPr>
            <a:spLocks noGrp="1"/>
          </p:cNvSpPr>
          <p:nvPr>
            <p:ph type="body" sz="quarter" idx="13"/>
          </p:nvPr>
        </p:nvSpPr>
        <p:spPr>
          <a:xfrm>
            <a:off x="837117" y="1234897"/>
            <a:ext cx="10517770" cy="560387"/>
          </a:xfrm>
        </p:spPr>
        <p:txBody>
          <a:bodyPr>
            <a:normAutofit/>
          </a:bodyPr>
          <a:lstStyle>
            <a:lvl1pPr marL="0" indent="0">
              <a:buNone/>
              <a:defRPr sz="1800">
                <a:solidFill>
                  <a:schemeClr val="tx2"/>
                </a:solidFill>
              </a:defRPr>
            </a:lvl1pPr>
          </a:lstStyle>
          <a:p>
            <a:pPr lvl="0"/>
            <a:r>
              <a:rPr lang="en-US" dirty="0"/>
              <a:t>Click to edit Master text styles</a:t>
            </a:r>
          </a:p>
        </p:txBody>
      </p:sp>
      <p:sp>
        <p:nvSpPr>
          <p:cNvPr id="2" name="Date Placeholder 1">
            <a:extLst>
              <a:ext uri="{FF2B5EF4-FFF2-40B4-BE49-F238E27FC236}">
                <a16:creationId xmlns="" xmlns:a16="http://schemas.microsoft.com/office/drawing/2014/main" id="{1F86F9A1-67CD-44DE-B578-D7071FCE8D1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9" name="Footer Placeholder 8">
            <a:extLst>
              <a:ext uri="{FF2B5EF4-FFF2-40B4-BE49-F238E27FC236}">
                <a16:creationId xmlns="" xmlns:a16="http://schemas.microsoft.com/office/drawing/2014/main" id="{C8E68BE1-FDB2-49CB-AA74-575CF02FEE29}"/>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0" name="Slide Number Placeholder 9">
            <a:extLst>
              <a:ext uri="{FF2B5EF4-FFF2-40B4-BE49-F238E27FC236}">
                <a16:creationId xmlns="" xmlns:a16="http://schemas.microsoft.com/office/drawing/2014/main" id="{208C23C1-F8FA-4358-A670-872FBC4CC616}"/>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6" name="Title 5">
            <a:extLst>
              <a:ext uri="{FF2B5EF4-FFF2-40B4-BE49-F238E27FC236}">
                <a16:creationId xmlns="" xmlns:a16="http://schemas.microsoft.com/office/drawing/2014/main" id="{5CADD7C2-C48A-4A21-B34F-D862B9C95147}"/>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520988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0" name="Picture Placeholder 3">
            <a:extLst>
              <a:ext uri="{FF2B5EF4-FFF2-40B4-BE49-F238E27FC236}">
                <a16:creationId xmlns="" xmlns:a16="http://schemas.microsoft.com/office/drawing/2014/main" id="{8594386E-3B6A-4126-A7E7-05D7226C9E62}"/>
              </a:ext>
            </a:extLst>
          </p:cNvPr>
          <p:cNvSpPr>
            <a:spLocks noGrp="1"/>
          </p:cNvSpPr>
          <p:nvPr>
            <p:ph type="pic" sz="quarter" idx="10"/>
          </p:nvPr>
        </p:nvSpPr>
        <p:spPr>
          <a:xfrm>
            <a:off x="4675380" y="727788"/>
            <a:ext cx="6874240" cy="2831840"/>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95" name="Picture Placeholder 3">
            <a:extLst>
              <a:ext uri="{FF2B5EF4-FFF2-40B4-BE49-F238E27FC236}">
                <a16:creationId xmlns="" xmlns:a16="http://schemas.microsoft.com/office/drawing/2014/main" id="{851C505F-C27B-44ED-950D-268FDD6DB432}"/>
              </a:ext>
            </a:extLst>
          </p:cNvPr>
          <p:cNvSpPr>
            <a:spLocks noGrp="1"/>
          </p:cNvSpPr>
          <p:nvPr>
            <p:ph type="pic" sz="quarter" idx="11"/>
          </p:nvPr>
        </p:nvSpPr>
        <p:spPr>
          <a:xfrm>
            <a:off x="1846002" y="4068147"/>
            <a:ext cx="930937" cy="955958"/>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49044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A4817489-340F-4F4B-8147-D2BC2C95774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1849" y="2507630"/>
            <a:ext cx="10515600" cy="1163294"/>
          </a:xfrm>
        </p:spPr>
        <p:txBody>
          <a:bodyPr vert="horz" anchor="ctr" anchorCtr="1"/>
          <a:lstStyle>
            <a:lvl1pPr algn="l" defTabSz="914400" rtl="0" eaLnBrk="1" latinLnBrk="0" hangingPunct="1">
              <a:lnSpc>
                <a:spcPct val="90000"/>
              </a:lnSpc>
              <a:spcBef>
                <a:spcPct val="0"/>
              </a:spcBef>
              <a:buNone/>
              <a:defRPr sz="6000" b="1" i="0">
                <a:solidFill>
                  <a:schemeClr val="tx1"/>
                </a:solidFill>
                <a:latin typeface="GE SS Unique"/>
                <a:ea typeface="GE SS Unique"/>
                <a:cs typeface="GE SS Unique"/>
              </a:defRPr>
            </a:lvl1pPr>
          </a:lstStyle>
          <a:p>
            <a:pPr algn="l" defTabSz="914400" rtl="0" eaLnBrk="1" latinLnBrk="0" hangingPunct="1">
              <a:lnSpc>
                <a:spcPct val="90000"/>
              </a:lnSpc>
              <a:spcBef>
                <a:spcPct val="0"/>
              </a:spcBef>
              <a:buNone/>
            </a:pPr>
            <a:r>
              <a:rPr lang="en-US" dirty="0"/>
              <a:t>Title</a:t>
            </a:r>
          </a:p>
        </p:txBody>
      </p:sp>
      <p:sp>
        <p:nvSpPr>
          <p:cNvPr id="3" name="Text Placeholder 2"/>
          <p:cNvSpPr>
            <a:spLocks noGrp="1"/>
          </p:cNvSpPr>
          <p:nvPr>
            <p:ph type="body" idx="1" hasCustomPrompt="1"/>
          </p:nvPr>
        </p:nvSpPr>
        <p:spPr>
          <a:xfrm>
            <a:off x="831849" y="3839373"/>
            <a:ext cx="10515600" cy="1500187"/>
          </a:xfrm>
        </p:spPr>
        <p:txBody>
          <a:bodyPr/>
          <a:lstStyle>
            <a:lvl1pPr marL="0" indent="0" algn="ctr" rtl="1">
              <a:buNone/>
              <a:defRPr sz="2400" b="0" i="0">
                <a:solidFill>
                  <a:schemeClr val="tx1"/>
                </a:solidFill>
                <a:latin typeface="GE SS Unique"/>
                <a:ea typeface="GE SS Unique Light" charset="0"/>
                <a:cs typeface="GE SS Unique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b="28494"/>
          <a:stretch/>
        </p:blipFill>
        <p:spPr>
          <a:xfrm rot="10800000">
            <a:off x="-6351" y="4589464"/>
            <a:ext cx="12192000" cy="2268536"/>
          </a:xfrm>
          <a:prstGeom prst="rect">
            <a:avLst/>
          </a:prstGeom>
        </p:spPr>
      </p:pic>
    </p:spTree>
    <p:extLst>
      <p:ext uri="{BB962C8B-B14F-4D97-AF65-F5344CB8AC3E}">
        <p14:creationId xmlns:p14="http://schemas.microsoft.com/office/powerpoint/2010/main" val="5815147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172201" y="2426567"/>
            <a:ext cx="5181600" cy="37503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38200" y="2426570"/>
            <a:ext cx="5181600" cy="37503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5"/>
          <p:cNvSpPr>
            <a:spLocks noGrp="1"/>
          </p:cNvSpPr>
          <p:nvPr>
            <p:ph type="body" sz="quarter" idx="13"/>
          </p:nvPr>
        </p:nvSpPr>
        <p:spPr>
          <a:xfrm>
            <a:off x="838200" y="1236950"/>
            <a:ext cx="10515601" cy="560387"/>
          </a:xfrm>
        </p:spPr>
        <p:txBody>
          <a:bodyPr/>
          <a:lstStyle>
            <a:lvl1pPr marL="0" indent="0">
              <a:buNone/>
              <a:defRPr>
                <a:solidFill>
                  <a:schemeClr val="tx2"/>
                </a:solidFill>
              </a:defRPr>
            </a:lvl1pPr>
          </a:lstStyle>
          <a:p>
            <a:pPr lvl="0"/>
            <a:r>
              <a:rPr lang="en-US" dirty="0"/>
              <a:t>Click to edit Master text styles</a:t>
            </a:r>
          </a:p>
        </p:txBody>
      </p:sp>
      <p:sp>
        <p:nvSpPr>
          <p:cNvPr id="5" name="Date Placeholder 4">
            <a:extLst>
              <a:ext uri="{FF2B5EF4-FFF2-40B4-BE49-F238E27FC236}">
                <a16:creationId xmlns="" xmlns:a16="http://schemas.microsoft.com/office/drawing/2014/main" id="{1E8F74D8-57EA-4C69-B359-838AD415B40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 xmlns:a16="http://schemas.microsoft.com/office/drawing/2014/main" id="{EF37BE92-4D1A-4D79-BBE9-E1F512A3DF30}"/>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 xmlns:a16="http://schemas.microsoft.com/office/drawing/2014/main" id="{DE1F6A32-A2B4-4256-A0DE-24E39C2EA1D7}"/>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2529157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38CE261F-35DC-4D96-AAE0-4EEAED47C2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197601" y="123444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197601" y="2196445"/>
            <a:ext cx="5157787"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39788" y="123444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839788" y="2196445"/>
            <a:ext cx="5183188"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 xmlns:a16="http://schemas.microsoft.com/office/drawing/2014/main" id="{C0D843B3-33E8-4DD6-94A6-E166A79C85F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0" name="Footer Placeholder 9">
            <a:extLst>
              <a:ext uri="{FF2B5EF4-FFF2-40B4-BE49-F238E27FC236}">
                <a16:creationId xmlns="" xmlns:a16="http://schemas.microsoft.com/office/drawing/2014/main" id="{4E149936-A52B-4BE0-A574-2E7E5E3ED214}"/>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6" name="Slide Number Placeholder 15">
            <a:extLst>
              <a:ext uri="{FF2B5EF4-FFF2-40B4-BE49-F238E27FC236}">
                <a16:creationId xmlns="" xmlns:a16="http://schemas.microsoft.com/office/drawing/2014/main" id="{02506FC7-AB31-42F5-95CD-5DFD956FB50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7" name="Title 6">
            <a:extLst>
              <a:ext uri="{FF2B5EF4-FFF2-40B4-BE49-F238E27FC236}">
                <a16:creationId xmlns="" xmlns:a16="http://schemas.microsoft.com/office/drawing/2014/main" id="{966A1D7D-0D3A-4CE0-A9C4-BAB1B70C043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102653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762714FB-DD0F-4F4F-9E30-D635F5F3673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b"/>
          <a:lstStyle/>
          <a:p>
            <a:r>
              <a:rPr lang="en-US" dirty="0"/>
              <a:t>Click to edit Master title style</a:t>
            </a:r>
          </a:p>
        </p:txBody>
      </p:sp>
      <p:sp>
        <p:nvSpPr>
          <p:cNvPr id="3" name="Date Placeholder 2">
            <a:extLst>
              <a:ext uri="{FF2B5EF4-FFF2-40B4-BE49-F238E27FC236}">
                <a16:creationId xmlns="" xmlns:a16="http://schemas.microsoft.com/office/drawing/2014/main" id="{A948E429-7890-4ADC-856E-FFC0768D2F8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4" name="Footer Placeholder 3">
            <a:extLst>
              <a:ext uri="{FF2B5EF4-FFF2-40B4-BE49-F238E27FC236}">
                <a16:creationId xmlns="" xmlns:a16="http://schemas.microsoft.com/office/drawing/2014/main" id="{770977C7-CE04-4FFA-9E04-89C700B4D00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5" name="Slide Number Placeholder 4">
            <a:extLst>
              <a:ext uri="{FF2B5EF4-FFF2-40B4-BE49-F238E27FC236}">
                <a16:creationId xmlns="" xmlns:a16="http://schemas.microsoft.com/office/drawing/2014/main" id="{5AF0029C-C0A2-4530-85A1-A5602AAA128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107743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30516"/>
          <a:stretch/>
        </p:blipFill>
        <p:spPr>
          <a:xfrm>
            <a:off x="4558747" y="3"/>
            <a:ext cx="7633252" cy="1380149"/>
          </a:xfrm>
          <a:prstGeom prst="rect">
            <a:avLst/>
          </a:prstGeom>
        </p:spPr>
      </p:pic>
      <p:sp>
        <p:nvSpPr>
          <p:cNvPr id="10" name="Date Placeholder 9">
            <a:extLst>
              <a:ext uri="{FF2B5EF4-FFF2-40B4-BE49-F238E27FC236}">
                <a16:creationId xmlns="" xmlns:a16="http://schemas.microsoft.com/office/drawing/2014/main" id="{79175504-6FC4-454E-A907-62DDA62F4288}"/>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 xmlns:a16="http://schemas.microsoft.com/office/drawing/2014/main" id="{61AE0480-9DA5-4CF1-8BCF-A9FBF0DA7D37}"/>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 xmlns:a16="http://schemas.microsoft.com/office/drawing/2014/main" id="{54897DDC-3EA8-4AC3-B9D4-605FA256BF1B}"/>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88263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000CCE0-356C-4BFD-B360-A76D4443B80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183188" y="1074875"/>
            <a:ext cx="6172200" cy="487362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 xmlns:a16="http://schemas.microsoft.com/office/drawing/2014/main" id="{12EE1063-2BAE-46CF-B8D2-9A7755E0914C}"/>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 xmlns:a16="http://schemas.microsoft.com/office/drawing/2014/main" id="{EE18E49A-156B-4473-91F6-F4E7F23D3B1A}"/>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 xmlns:a16="http://schemas.microsoft.com/office/drawing/2014/main" id="{8314FCAA-E22F-4AC3-98E2-1D98D153A966}"/>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11" name="Title 1">
            <a:extLst>
              <a:ext uri="{FF2B5EF4-FFF2-40B4-BE49-F238E27FC236}">
                <a16:creationId xmlns="" xmlns:a16="http://schemas.microsoft.com/office/drawing/2014/main" id="{80C03059-6627-44A5-8825-89497F5C43C4}"/>
              </a:ext>
            </a:extLst>
          </p:cNvPr>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12" name="Text Placeholder 3">
            <a:extLst>
              <a:ext uri="{FF2B5EF4-FFF2-40B4-BE49-F238E27FC236}">
                <a16:creationId xmlns="" xmlns:a16="http://schemas.microsoft.com/office/drawing/2014/main" id="{C8E26E14-0F1B-4560-B13F-148B8E417308}"/>
              </a:ext>
            </a:extLst>
          </p:cNvPr>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559037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EE20EDC-0E92-43B0-A8EB-090C67C5C9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1602" y="1074878"/>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Date Placeholder 8">
            <a:extLst>
              <a:ext uri="{FF2B5EF4-FFF2-40B4-BE49-F238E27FC236}">
                <a16:creationId xmlns="" xmlns:a16="http://schemas.microsoft.com/office/drawing/2014/main" id="{CB1D20F5-87E7-45BB-B690-166E416AD6C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 xmlns:a16="http://schemas.microsoft.com/office/drawing/2014/main" id="{CF302F3F-120B-4296-A4ED-301C3D46B1B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 xmlns:a16="http://schemas.microsoft.com/office/drawing/2014/main" id="{14B0737E-9AD9-463A-8438-938FD1DF0470}"/>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8036923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FC0CB1AA-1111-4827-98E8-CCCD13034A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 xmlns:a16="http://schemas.microsoft.com/office/drawing/2014/main" id="{770B6B68-C168-4E82-99D8-502BB6B1929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8" name="Footer Placeholder 7">
            <a:extLst>
              <a:ext uri="{FF2B5EF4-FFF2-40B4-BE49-F238E27FC236}">
                <a16:creationId xmlns="" xmlns:a16="http://schemas.microsoft.com/office/drawing/2014/main" id="{FC31D32E-D90A-4BE2-8C02-E0B1F46E0413}"/>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9" name="Slide Number Placeholder 8">
            <a:extLst>
              <a:ext uri="{FF2B5EF4-FFF2-40B4-BE49-F238E27FC236}">
                <a16:creationId xmlns="" xmlns:a16="http://schemas.microsoft.com/office/drawing/2014/main" id="{B8798091-33BB-4D9F-98D7-7A67DA7090BD}"/>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30013975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230F1C9F-3B0F-704D-BB0B-0F61B4DA9711}"/>
              </a:ext>
            </a:extLst>
          </p:cNvPr>
          <p:cNvPicPr>
            <a:picLocks noChangeAspect="1"/>
          </p:cNvPicPr>
          <p:nvPr userDrawn="1"/>
        </p:nvPicPr>
        <p:blipFill>
          <a:blip r:embed="rId5"/>
          <a:stretch>
            <a:fillRect/>
          </a:stretch>
        </p:blipFill>
        <p:spPr>
          <a:xfrm>
            <a:off x="0" y="3238500"/>
            <a:ext cx="6007100" cy="3619500"/>
          </a:xfrm>
          <a:prstGeom prst="rect">
            <a:avLst/>
          </a:prstGeom>
        </p:spPr>
      </p:pic>
      <p:pic>
        <p:nvPicPr>
          <p:cNvPr id="9" name="Picture 8">
            <a:extLst>
              <a:ext uri="{FF2B5EF4-FFF2-40B4-BE49-F238E27FC236}">
                <a16:creationId xmlns="" xmlns:a16="http://schemas.microsoft.com/office/drawing/2014/main" id="{FD78183D-F4E4-F64A-A039-C983F502FE0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79168" t="19941" r="94" b="17798"/>
          <a:stretch/>
        </p:blipFill>
        <p:spPr>
          <a:xfrm>
            <a:off x="1222734" y="2875965"/>
            <a:ext cx="2046213" cy="1842914"/>
          </a:xfrm>
          <a:prstGeom prst="rect">
            <a:avLst/>
          </a:prstGeom>
        </p:spPr>
      </p:pic>
      <p:pic>
        <p:nvPicPr>
          <p:cNvPr id="10" name="Picture 9">
            <a:extLst>
              <a:ext uri="{FF2B5EF4-FFF2-40B4-BE49-F238E27FC236}">
                <a16:creationId xmlns="" xmlns:a16="http://schemas.microsoft.com/office/drawing/2014/main" id="{C1EF61B6-F929-0048-8450-8258C6E3F75B}"/>
              </a:ext>
            </a:extLst>
          </p:cNvPr>
          <p:cNvPicPr>
            <a:picLocks noChangeAspect="1"/>
          </p:cNvPicPr>
          <p:nvPr userDrawn="1"/>
        </p:nvPicPr>
        <p:blipFill rotWithShape="1">
          <a:blip r:embed="rId7" cstate="print">
            <a:duotone>
              <a:srgbClr val="EEECE1">
                <a:shade val="45000"/>
                <a:satMod val="135000"/>
              </a:srgbClr>
              <a:prstClr val="white"/>
            </a:duotone>
            <a:extLst>
              <a:ext uri="{28A0092B-C50C-407E-A947-70E740481C1C}">
                <a14:useLocalDpi xmlns:a14="http://schemas.microsoft.com/office/drawing/2010/main" val="0"/>
              </a:ext>
            </a:extLst>
          </a:blip>
          <a:srcRect r="307"/>
          <a:stretch/>
        </p:blipFill>
        <p:spPr>
          <a:xfrm>
            <a:off x="0" y="-5947"/>
            <a:ext cx="12192000" cy="3752033"/>
          </a:xfrm>
          <a:prstGeom prst="rect">
            <a:avLst/>
          </a:prstGeom>
        </p:spPr>
      </p:pic>
      <p:sp>
        <p:nvSpPr>
          <p:cNvPr id="11" name="Text Placeholder 13">
            <a:extLst>
              <a:ext uri="{FF2B5EF4-FFF2-40B4-BE49-F238E27FC236}">
                <a16:creationId xmlns="" xmlns:a16="http://schemas.microsoft.com/office/drawing/2014/main" id="{A87AC21A-AA41-394A-8F77-0D45DBAC6439}"/>
              </a:ext>
            </a:extLst>
          </p:cNvPr>
          <p:cNvSpPr>
            <a:spLocks noGrp="1"/>
          </p:cNvSpPr>
          <p:nvPr>
            <p:ph type="body" sz="quarter" idx="16" hasCustomPrompt="1"/>
          </p:nvPr>
        </p:nvSpPr>
        <p:spPr>
          <a:xfrm>
            <a:off x="4661562" y="6538495"/>
            <a:ext cx="3311525" cy="193899"/>
          </a:xfrm>
        </p:spPr>
        <p:txBody>
          <a:bodyPr anchor="b" anchorCtr="0"/>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en-US" dirty="0"/>
              <a:t>Author(s) here</a:t>
            </a:r>
          </a:p>
        </p:txBody>
      </p:sp>
      <p:sp>
        <p:nvSpPr>
          <p:cNvPr id="12" name="Text Placeholder 8">
            <a:extLst>
              <a:ext uri="{FF2B5EF4-FFF2-40B4-BE49-F238E27FC236}">
                <a16:creationId xmlns="" xmlns:a16="http://schemas.microsoft.com/office/drawing/2014/main" id="{3C010D1D-CF0F-DD4B-A383-D005BC0778CE}"/>
              </a:ext>
            </a:extLst>
          </p:cNvPr>
          <p:cNvSpPr>
            <a:spLocks noGrp="1"/>
          </p:cNvSpPr>
          <p:nvPr>
            <p:ph type="body" sz="quarter" idx="15" hasCustomPrompt="1"/>
            <p:custDataLst>
              <p:tags r:id="rId1"/>
            </p:custDataLst>
          </p:nvPr>
        </p:nvSpPr>
        <p:spPr>
          <a:xfrm>
            <a:off x="4649422" y="6133867"/>
            <a:ext cx="3967917" cy="193899"/>
          </a:xfrm>
          <a:noFill/>
          <a:ln w="6350" cap="flat">
            <a:noFill/>
          </a:ln>
        </p:spPr>
        <p:txBody>
          <a:bodyPr vert="horz" wrap="square" lIns="0" tIns="0" rIns="0" bIns="0" rtlCol="0">
            <a:spAutoFit/>
          </a:bodyPr>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r>
              <a:rPr lang="en-US" dirty="0"/>
              <a:t>Date here</a:t>
            </a:r>
          </a:p>
        </p:txBody>
      </p:sp>
      <p:sp>
        <p:nvSpPr>
          <p:cNvPr id="13" name="Text Placeholder 8">
            <a:extLst>
              <a:ext uri="{FF2B5EF4-FFF2-40B4-BE49-F238E27FC236}">
                <a16:creationId xmlns="" xmlns:a16="http://schemas.microsoft.com/office/drawing/2014/main" id="{37F49A0C-45E6-B346-9BAA-19764B3E4C17}"/>
              </a:ext>
            </a:extLst>
          </p:cNvPr>
          <p:cNvSpPr>
            <a:spLocks noGrp="1"/>
          </p:cNvSpPr>
          <p:nvPr>
            <p:ph type="body" sz="quarter" idx="12" hasCustomPrompt="1"/>
            <p:custDataLst>
              <p:tags r:id="rId2"/>
            </p:custDataLst>
          </p:nvPr>
        </p:nvSpPr>
        <p:spPr>
          <a:xfrm>
            <a:off x="4649422" y="5918509"/>
            <a:ext cx="3966838" cy="193899"/>
          </a:xfrm>
          <a:noFill/>
          <a:ln w="6350" cap="flat">
            <a:noFill/>
          </a:ln>
        </p:spPr>
        <p:txBody>
          <a:bodyPr/>
          <a:lstStyle>
            <a:lvl1pPr marL="0" indent="0">
              <a:spcBef>
                <a:spcPts val="0"/>
              </a:spcBef>
              <a:buFontTx/>
              <a:buNone/>
              <a:defRPr sz="1400" baseline="0"/>
            </a:lvl1pPr>
          </a:lstStyle>
          <a:p>
            <a:r>
              <a:rPr lang="en-US" dirty="0"/>
              <a:t>Report type here</a:t>
            </a:r>
          </a:p>
        </p:txBody>
      </p:sp>
      <p:sp>
        <p:nvSpPr>
          <p:cNvPr id="14" name="Title 1">
            <a:extLst>
              <a:ext uri="{FF2B5EF4-FFF2-40B4-BE49-F238E27FC236}">
                <a16:creationId xmlns="" xmlns:a16="http://schemas.microsoft.com/office/drawing/2014/main" id="{119D9977-9665-A148-A1EB-0CA0A25693B6}"/>
              </a:ext>
            </a:extLst>
          </p:cNvPr>
          <p:cNvSpPr>
            <a:spLocks noGrp="1"/>
          </p:cNvSpPr>
          <p:nvPr>
            <p:ph type="ctrTitle" hasCustomPrompt="1"/>
            <p:custDataLst>
              <p:tags r:id="rId3"/>
            </p:custDataLst>
          </p:nvPr>
        </p:nvSpPr>
        <p:spPr>
          <a:xfrm>
            <a:off x="3563889" y="4903653"/>
            <a:ext cx="5863322" cy="498598"/>
          </a:xfrm>
          <a:prstGeom prst="rect">
            <a:avLst/>
          </a:prstGeom>
          <a:noFill/>
          <a:ln w="6350" cap="flat">
            <a:noFill/>
          </a:ln>
        </p:spPr>
        <p:txBody>
          <a:bodyPr/>
          <a:lstStyle>
            <a:lvl1pPr algn="l">
              <a:lnSpc>
                <a:spcPct val="90000"/>
              </a:lnSpc>
              <a:defRPr sz="3600" b="0" baseline="0">
                <a:solidFill>
                  <a:srgbClr val="048962"/>
                </a:solidFill>
                <a:latin typeface="Arial" pitchFamily="34" charset="0"/>
                <a:cs typeface="Arial" pitchFamily="34" charset="0"/>
              </a:defRPr>
            </a:lvl1pPr>
          </a:lstStyle>
          <a:p>
            <a:r>
              <a:rPr lang="en-US" dirty="0"/>
              <a:t>Presentation title here</a:t>
            </a:r>
          </a:p>
        </p:txBody>
      </p:sp>
    </p:spTree>
    <p:extLst>
      <p:ext uri="{BB962C8B-B14F-4D97-AF65-F5344CB8AC3E}">
        <p14:creationId xmlns:p14="http://schemas.microsoft.com/office/powerpoint/2010/main" val="2581589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E9335AC8-34F2-429E-AD26-9E23348554CC}"/>
              </a:ext>
            </a:extLst>
          </p:cNvPr>
          <p:cNvGrpSpPr/>
          <p:nvPr userDrawn="1"/>
        </p:nvGrpSpPr>
        <p:grpSpPr>
          <a:xfrm>
            <a:off x="1181946" y="843713"/>
            <a:ext cx="6421525" cy="5146558"/>
            <a:chOff x="1181946" y="843713"/>
            <a:chExt cx="6421525" cy="5146558"/>
          </a:xfrm>
        </p:grpSpPr>
        <p:sp>
          <p:nvSpPr>
            <p:cNvPr id="90" name="Oval 89">
              <a:extLst>
                <a:ext uri="{FF2B5EF4-FFF2-40B4-BE49-F238E27FC236}">
                  <a16:creationId xmlns="" xmlns:a16="http://schemas.microsoft.com/office/drawing/2014/main" id="{87B9FA51-C88F-4C9A-9168-29EA9B508202}"/>
                </a:ext>
              </a:extLst>
            </p:cNvPr>
            <p:cNvSpPr/>
            <p:nvPr userDrawn="1"/>
          </p:nvSpPr>
          <p:spPr>
            <a:xfrm>
              <a:off x="1635071" y="2757053"/>
              <a:ext cx="2684575" cy="267334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9" name="Oval 88">
              <a:extLst>
                <a:ext uri="{FF2B5EF4-FFF2-40B4-BE49-F238E27FC236}">
                  <a16:creationId xmlns="" xmlns:a16="http://schemas.microsoft.com/office/drawing/2014/main" id="{D4431040-A5EA-41DF-8E63-A50F1DA46A55}"/>
                </a:ext>
              </a:extLst>
            </p:cNvPr>
            <p:cNvSpPr/>
            <p:nvPr userDrawn="1"/>
          </p:nvSpPr>
          <p:spPr>
            <a:xfrm>
              <a:off x="1816045" y="2937269"/>
              <a:ext cx="2322627" cy="2312908"/>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5" name="Oval 84">
              <a:extLst>
                <a:ext uri="{FF2B5EF4-FFF2-40B4-BE49-F238E27FC236}">
                  <a16:creationId xmlns="" xmlns:a16="http://schemas.microsoft.com/office/drawing/2014/main" id="{A4D446C6-4F21-4A7E-ADE1-DF3C7517C519}"/>
                </a:ext>
              </a:extLst>
            </p:cNvPr>
            <p:cNvSpPr/>
            <p:nvPr/>
          </p:nvSpPr>
          <p:spPr>
            <a:xfrm>
              <a:off x="2008772" y="3129190"/>
              <a:ext cx="1937172" cy="1929066"/>
            </a:xfrm>
            <a:prstGeom prst="ellipse">
              <a:avLst/>
            </a:prstGeom>
            <a:gradFill>
              <a:gsLst>
                <a:gs pos="2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 xmlns:a16="http://schemas.microsoft.com/office/drawing/2014/main" id="{A118E6C3-E6BC-4FB2-B49F-B25D904F8CD3}"/>
                </a:ext>
              </a:extLst>
            </p:cNvPr>
            <p:cNvSpPr/>
            <p:nvPr userDrawn="1"/>
          </p:nvSpPr>
          <p:spPr>
            <a:xfrm>
              <a:off x="5638490" y="3455422"/>
              <a:ext cx="1922517" cy="2534849"/>
            </a:xfrm>
            <a:custGeom>
              <a:avLst/>
              <a:gdLst>
                <a:gd name="connsiteX0" fmla="*/ 217944 w 1794372"/>
                <a:gd name="connsiteY0" fmla="*/ 0 h 2365889"/>
                <a:gd name="connsiteX1" fmla="*/ 1576427 w 1794372"/>
                <a:gd name="connsiteY1" fmla="*/ 0 h 2365889"/>
                <a:gd name="connsiteX2" fmla="*/ 1794372 w 1794372"/>
                <a:gd name="connsiteY2" fmla="*/ 217945 h 2365889"/>
                <a:gd name="connsiteX3" fmla="*/ 1794372 w 1794372"/>
                <a:gd name="connsiteY3" fmla="*/ 2147944 h 2365889"/>
                <a:gd name="connsiteX4" fmla="*/ 1576427 w 1794372"/>
                <a:gd name="connsiteY4" fmla="*/ 2365889 h 2365889"/>
                <a:gd name="connsiteX5" fmla="*/ 217944 w 1794372"/>
                <a:gd name="connsiteY5" fmla="*/ 2365889 h 2365889"/>
                <a:gd name="connsiteX6" fmla="*/ 0 w 1794372"/>
                <a:gd name="connsiteY6" fmla="*/ 2147944 h 2365889"/>
                <a:gd name="connsiteX7" fmla="*/ 0 w 1794372"/>
                <a:gd name="connsiteY7" fmla="*/ 217945 h 2365889"/>
                <a:gd name="connsiteX8" fmla="*/ 217944 w 1794372"/>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2" h="2365889">
                  <a:moveTo>
                    <a:pt x="217944" y="0"/>
                  </a:moveTo>
                  <a:lnTo>
                    <a:pt x="1576427" y="0"/>
                  </a:lnTo>
                  <a:cubicBezTo>
                    <a:pt x="1696795" y="0"/>
                    <a:pt x="1794372" y="97577"/>
                    <a:pt x="1794372" y="217945"/>
                  </a:cubicBezTo>
                  <a:lnTo>
                    <a:pt x="1794372" y="2147944"/>
                  </a:lnTo>
                  <a:cubicBezTo>
                    <a:pt x="1794372" y="2268312"/>
                    <a:pt x="1696795" y="2365889"/>
                    <a:pt x="1576427" y="2365889"/>
                  </a:cubicBezTo>
                  <a:lnTo>
                    <a:pt x="217944" y="2365889"/>
                  </a:lnTo>
                  <a:cubicBezTo>
                    <a:pt x="97576" y="2365889"/>
                    <a:pt x="0" y="2268312"/>
                    <a:pt x="0" y="2147944"/>
                  </a:cubicBezTo>
                  <a:lnTo>
                    <a:pt x="0" y="217945"/>
                  </a:lnTo>
                  <a:cubicBezTo>
                    <a:pt x="0" y="97577"/>
                    <a:pt x="97576" y="0"/>
                    <a:pt x="217944"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 xmlns:a16="http://schemas.microsoft.com/office/drawing/2014/main" id="{456EFF9A-A7D4-4F98-937A-311AD8BA4969}"/>
                </a:ext>
              </a:extLst>
            </p:cNvPr>
            <p:cNvSpPr/>
            <p:nvPr userDrawn="1"/>
          </p:nvSpPr>
          <p:spPr>
            <a:xfrm>
              <a:off x="3340104" y="3455422"/>
              <a:ext cx="1922518" cy="2534849"/>
            </a:xfrm>
            <a:custGeom>
              <a:avLst/>
              <a:gdLst>
                <a:gd name="connsiteX0" fmla="*/ 217945 w 1794373"/>
                <a:gd name="connsiteY0" fmla="*/ 0 h 2365889"/>
                <a:gd name="connsiteX1" fmla="*/ 1576429 w 1794373"/>
                <a:gd name="connsiteY1" fmla="*/ 0 h 2365889"/>
                <a:gd name="connsiteX2" fmla="*/ 1794373 w 1794373"/>
                <a:gd name="connsiteY2" fmla="*/ 217945 h 2365889"/>
                <a:gd name="connsiteX3" fmla="*/ 1794373 w 1794373"/>
                <a:gd name="connsiteY3" fmla="*/ 2147944 h 2365889"/>
                <a:gd name="connsiteX4" fmla="*/ 1576429 w 1794373"/>
                <a:gd name="connsiteY4" fmla="*/ 2365889 h 2365889"/>
                <a:gd name="connsiteX5" fmla="*/ 217945 w 1794373"/>
                <a:gd name="connsiteY5" fmla="*/ 2365889 h 2365889"/>
                <a:gd name="connsiteX6" fmla="*/ 0 w 1794373"/>
                <a:gd name="connsiteY6" fmla="*/ 2147944 h 2365889"/>
                <a:gd name="connsiteX7" fmla="*/ 0 w 1794373"/>
                <a:gd name="connsiteY7" fmla="*/ 217945 h 2365889"/>
                <a:gd name="connsiteX8" fmla="*/ 217945 w 1794373"/>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3" h="2365889">
                  <a:moveTo>
                    <a:pt x="217945" y="0"/>
                  </a:moveTo>
                  <a:lnTo>
                    <a:pt x="1576429" y="0"/>
                  </a:lnTo>
                  <a:cubicBezTo>
                    <a:pt x="1696796" y="0"/>
                    <a:pt x="1794373" y="97577"/>
                    <a:pt x="1794373" y="217945"/>
                  </a:cubicBezTo>
                  <a:lnTo>
                    <a:pt x="1794373" y="2147944"/>
                  </a:lnTo>
                  <a:cubicBezTo>
                    <a:pt x="1794373" y="2268312"/>
                    <a:pt x="1696796" y="2365889"/>
                    <a:pt x="1576429" y="2365889"/>
                  </a:cubicBezTo>
                  <a:lnTo>
                    <a:pt x="217945" y="2365889"/>
                  </a:lnTo>
                  <a:cubicBezTo>
                    <a:pt x="97577" y="2365889"/>
                    <a:pt x="0" y="2268312"/>
                    <a:pt x="0" y="2147944"/>
                  </a:cubicBezTo>
                  <a:lnTo>
                    <a:pt x="0" y="217945"/>
                  </a:lnTo>
                  <a:cubicBezTo>
                    <a:pt x="0" y="97577"/>
                    <a:pt x="97577" y="0"/>
                    <a:pt x="217945"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 xmlns:a16="http://schemas.microsoft.com/office/drawing/2014/main" id="{D7817152-6206-4718-AD82-24FF26FFD4C5}"/>
                </a:ext>
              </a:extLst>
            </p:cNvPr>
            <p:cNvSpPr/>
            <p:nvPr userDrawn="1"/>
          </p:nvSpPr>
          <p:spPr>
            <a:xfrm>
              <a:off x="3242133" y="843713"/>
              <a:ext cx="4361338" cy="2192282"/>
            </a:xfrm>
            <a:custGeom>
              <a:avLst/>
              <a:gdLst>
                <a:gd name="connsiteX0" fmla="*/ 248526 w 4070635"/>
                <a:gd name="connsiteY0" fmla="*/ 0 h 2046156"/>
                <a:gd name="connsiteX1" fmla="*/ 3822109 w 4070635"/>
                <a:gd name="connsiteY1" fmla="*/ 0 h 2046156"/>
                <a:gd name="connsiteX2" fmla="*/ 4070635 w 4070635"/>
                <a:gd name="connsiteY2" fmla="*/ 248526 h 2046156"/>
                <a:gd name="connsiteX3" fmla="*/ 4070635 w 4070635"/>
                <a:gd name="connsiteY3" fmla="*/ 1797630 h 2046156"/>
                <a:gd name="connsiteX4" fmla="*/ 3822109 w 4070635"/>
                <a:gd name="connsiteY4" fmla="*/ 2046156 h 2046156"/>
                <a:gd name="connsiteX5" fmla="*/ 248526 w 4070635"/>
                <a:gd name="connsiteY5" fmla="*/ 2046156 h 2046156"/>
                <a:gd name="connsiteX6" fmla="*/ 0 w 4070635"/>
                <a:gd name="connsiteY6" fmla="*/ 1797630 h 2046156"/>
                <a:gd name="connsiteX7" fmla="*/ 0 w 4070635"/>
                <a:gd name="connsiteY7" fmla="*/ 248526 h 2046156"/>
                <a:gd name="connsiteX8" fmla="*/ 248526 w 4070635"/>
                <a:gd name="connsiteY8" fmla="*/ 0 h 204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0635" h="2046156">
                  <a:moveTo>
                    <a:pt x="248526" y="0"/>
                  </a:moveTo>
                  <a:lnTo>
                    <a:pt x="3822109" y="0"/>
                  </a:lnTo>
                  <a:cubicBezTo>
                    <a:pt x="3959366" y="0"/>
                    <a:pt x="4070635" y="111269"/>
                    <a:pt x="4070635" y="248526"/>
                  </a:cubicBezTo>
                  <a:lnTo>
                    <a:pt x="4070635" y="1797630"/>
                  </a:lnTo>
                  <a:cubicBezTo>
                    <a:pt x="4070635" y="1934887"/>
                    <a:pt x="3959366" y="2046156"/>
                    <a:pt x="3822109" y="2046156"/>
                  </a:cubicBezTo>
                  <a:lnTo>
                    <a:pt x="248526" y="2046156"/>
                  </a:lnTo>
                  <a:cubicBezTo>
                    <a:pt x="111269" y="2046156"/>
                    <a:pt x="0" y="1934887"/>
                    <a:pt x="0" y="1797630"/>
                  </a:cubicBezTo>
                  <a:lnTo>
                    <a:pt x="0" y="248526"/>
                  </a:lnTo>
                  <a:cubicBezTo>
                    <a:pt x="0" y="111269"/>
                    <a:pt x="111269" y="0"/>
                    <a:pt x="248526"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7" name="Freeform: Shape 46">
              <a:extLst>
                <a:ext uri="{FF2B5EF4-FFF2-40B4-BE49-F238E27FC236}">
                  <a16:creationId xmlns="" xmlns:a16="http://schemas.microsoft.com/office/drawing/2014/main" id="{75AE763D-1297-47E6-B54D-64841779B493}"/>
                </a:ext>
              </a:extLst>
            </p:cNvPr>
            <p:cNvSpPr/>
            <p:nvPr userDrawn="1"/>
          </p:nvSpPr>
          <p:spPr>
            <a:xfrm>
              <a:off x="1181946" y="1779205"/>
              <a:ext cx="1848177" cy="2607575"/>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53" name="Picture Placeholder 3">
            <a:extLst>
              <a:ext uri="{FF2B5EF4-FFF2-40B4-BE49-F238E27FC236}">
                <a16:creationId xmlns="" xmlns:a16="http://schemas.microsoft.com/office/drawing/2014/main" id="{5D490F91-8DD6-41AA-B2BB-5B4104F574D3}"/>
              </a:ext>
            </a:extLst>
          </p:cNvPr>
          <p:cNvSpPr>
            <a:spLocks noGrp="1"/>
          </p:cNvSpPr>
          <p:nvPr userDrawn="1">
            <p:ph type="pic" sz="quarter" idx="10"/>
          </p:nvPr>
        </p:nvSpPr>
        <p:spPr>
          <a:xfrm>
            <a:off x="1281411" y="1919539"/>
            <a:ext cx="1649246" cy="2326906"/>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4" name="Picture Placeholder 3">
            <a:extLst>
              <a:ext uri="{FF2B5EF4-FFF2-40B4-BE49-F238E27FC236}">
                <a16:creationId xmlns="" xmlns:a16="http://schemas.microsoft.com/office/drawing/2014/main" id="{4B86B99C-9F20-426A-93BE-6B07FB7F7B2B}"/>
              </a:ext>
            </a:extLst>
          </p:cNvPr>
          <p:cNvSpPr>
            <a:spLocks noGrp="1"/>
          </p:cNvSpPr>
          <p:nvPr userDrawn="1">
            <p:ph type="pic" sz="quarter" idx="11"/>
          </p:nvPr>
        </p:nvSpPr>
        <p:spPr>
          <a:xfrm>
            <a:off x="5741956"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5" name="Picture Placeholder 3">
            <a:extLst>
              <a:ext uri="{FF2B5EF4-FFF2-40B4-BE49-F238E27FC236}">
                <a16:creationId xmlns="" xmlns:a16="http://schemas.microsoft.com/office/drawing/2014/main" id="{5794FD1B-7F6B-4D38-A71B-10820B4BF648}"/>
              </a:ext>
            </a:extLst>
          </p:cNvPr>
          <p:cNvSpPr>
            <a:spLocks noGrp="1"/>
          </p:cNvSpPr>
          <p:nvPr userDrawn="1">
            <p:ph type="pic" sz="quarter" idx="12"/>
          </p:nvPr>
        </p:nvSpPr>
        <p:spPr>
          <a:xfrm>
            <a:off x="3443571"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6" name="Picture Placeholder 3">
            <a:extLst>
              <a:ext uri="{FF2B5EF4-FFF2-40B4-BE49-F238E27FC236}">
                <a16:creationId xmlns="" xmlns:a16="http://schemas.microsoft.com/office/drawing/2014/main" id="{6E4F1BCB-1ECA-468D-BD8E-171B94577745}"/>
              </a:ext>
            </a:extLst>
          </p:cNvPr>
          <p:cNvSpPr>
            <a:spLocks noGrp="1"/>
          </p:cNvSpPr>
          <p:nvPr userDrawn="1">
            <p:ph type="pic" sz="quarter" idx="13"/>
          </p:nvPr>
        </p:nvSpPr>
        <p:spPr>
          <a:xfrm>
            <a:off x="3408478" y="961698"/>
            <a:ext cx="4028648" cy="19563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96372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BBE9010F-8AC1-4EB6-99AD-6D56C56B3EAC}"/>
              </a:ext>
            </a:extLst>
          </p:cNvPr>
          <p:cNvSpPr>
            <a:spLocks noGrp="1"/>
          </p:cNvSpPr>
          <p:nvPr>
            <p:ph type="pic" sz="quarter" idx="10"/>
          </p:nvPr>
        </p:nvSpPr>
        <p:spPr>
          <a:xfrm>
            <a:off x="8164117" y="1335182"/>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 xmlns:a16="http://schemas.microsoft.com/office/drawing/2014/main" id="{173B400D-885F-4CC4-AA62-ADCA2FA89194}"/>
              </a:ext>
            </a:extLst>
          </p:cNvPr>
          <p:cNvSpPr>
            <a:spLocks noGrp="1"/>
          </p:cNvSpPr>
          <p:nvPr>
            <p:ph type="pic" sz="quarter" idx="12"/>
          </p:nvPr>
        </p:nvSpPr>
        <p:spPr>
          <a:xfrm>
            <a:off x="4184270" y="-23529"/>
            <a:ext cx="3055365" cy="6881529"/>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2" name="Picture Placeholder 3">
            <a:extLst>
              <a:ext uri="{FF2B5EF4-FFF2-40B4-BE49-F238E27FC236}">
                <a16:creationId xmlns="" xmlns:a16="http://schemas.microsoft.com/office/drawing/2014/main" id="{6BC730DA-4E87-439F-9626-CEB9301890C4}"/>
              </a:ext>
            </a:extLst>
          </p:cNvPr>
          <p:cNvSpPr>
            <a:spLocks noGrp="1"/>
          </p:cNvSpPr>
          <p:nvPr>
            <p:ph type="pic" sz="quarter" idx="13"/>
          </p:nvPr>
        </p:nvSpPr>
        <p:spPr>
          <a:xfrm>
            <a:off x="8164117" y="3813243"/>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41982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2" name="Picture Placeholder 41">
            <a:extLst>
              <a:ext uri="{FF2B5EF4-FFF2-40B4-BE49-F238E27FC236}">
                <a16:creationId xmlns="" xmlns:a16="http://schemas.microsoft.com/office/drawing/2014/main" id="{B4FC6F71-573F-4A9E-93BD-CEE835857EFB}"/>
              </a:ext>
            </a:extLst>
          </p:cNvPr>
          <p:cNvSpPr>
            <a:spLocks noGrp="1"/>
          </p:cNvSpPr>
          <p:nvPr>
            <p:ph type="pic" sz="quarter" idx="10"/>
          </p:nvPr>
        </p:nvSpPr>
        <p:spPr>
          <a:xfrm>
            <a:off x="1167110" y="1706860"/>
            <a:ext cx="3895029" cy="3925541"/>
          </a:xfrm>
          <a:custGeom>
            <a:avLst/>
            <a:gdLst>
              <a:gd name="connsiteX0" fmla="*/ 3347369 w 3895029"/>
              <a:gd name="connsiteY0" fmla="*/ 0 h 3925541"/>
              <a:gd name="connsiteX1" fmla="*/ 3421939 w 3895029"/>
              <a:gd name="connsiteY1" fmla="*/ 0 h 3925541"/>
              <a:gd name="connsiteX2" fmla="*/ 3895029 w 3895029"/>
              <a:gd name="connsiteY2" fmla="*/ 473090 h 3925541"/>
              <a:gd name="connsiteX3" fmla="*/ 3895029 w 3895029"/>
              <a:gd name="connsiteY3" fmla="*/ 3452451 h 3925541"/>
              <a:gd name="connsiteX4" fmla="*/ 3421939 w 3895029"/>
              <a:gd name="connsiteY4" fmla="*/ 3925541 h 3925541"/>
              <a:gd name="connsiteX5" fmla="*/ 473090 w 3895029"/>
              <a:gd name="connsiteY5" fmla="*/ 3925541 h 3925541"/>
              <a:gd name="connsiteX6" fmla="*/ 0 w 3895029"/>
              <a:gd name="connsiteY6" fmla="*/ 3452451 h 3925541"/>
              <a:gd name="connsiteX7" fmla="*/ 0 w 3895029"/>
              <a:gd name="connsiteY7" fmla="*/ 1386864 h 3925541"/>
              <a:gd name="connsiteX8" fmla="*/ 2822408 w 3895029"/>
              <a:gd name="connsiteY8" fmla="*/ 1386864 h 3925541"/>
              <a:gd name="connsiteX9" fmla="*/ 3347369 w 3895029"/>
              <a:gd name="connsiteY9" fmla="*/ 861903 h 39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5029" h="3925541">
                <a:moveTo>
                  <a:pt x="3347369" y="0"/>
                </a:moveTo>
                <a:lnTo>
                  <a:pt x="3421939" y="0"/>
                </a:lnTo>
                <a:cubicBezTo>
                  <a:pt x="3683219" y="0"/>
                  <a:pt x="3895029" y="211810"/>
                  <a:pt x="3895029" y="473090"/>
                </a:cubicBezTo>
                <a:lnTo>
                  <a:pt x="3895029" y="3452451"/>
                </a:lnTo>
                <a:cubicBezTo>
                  <a:pt x="3895029" y="3713731"/>
                  <a:pt x="3683219" y="3925541"/>
                  <a:pt x="3421939" y="3925541"/>
                </a:cubicBezTo>
                <a:lnTo>
                  <a:pt x="473090" y="3925541"/>
                </a:lnTo>
                <a:cubicBezTo>
                  <a:pt x="211810" y="3925541"/>
                  <a:pt x="0" y="3713731"/>
                  <a:pt x="0" y="3452451"/>
                </a:cubicBezTo>
                <a:lnTo>
                  <a:pt x="0" y="1386864"/>
                </a:lnTo>
                <a:lnTo>
                  <a:pt x="2822408" y="1386864"/>
                </a:lnTo>
                <a:cubicBezTo>
                  <a:pt x="3112336" y="1386864"/>
                  <a:pt x="3347369" y="1151831"/>
                  <a:pt x="3347369" y="861903"/>
                </a:cubicBez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
        <p:nvSpPr>
          <p:cNvPr id="46" name="Picture Placeholder 45">
            <a:extLst>
              <a:ext uri="{FF2B5EF4-FFF2-40B4-BE49-F238E27FC236}">
                <a16:creationId xmlns="" xmlns:a16="http://schemas.microsoft.com/office/drawing/2014/main" id="{FCB50A0C-CB5F-43C6-8ADE-5BC200D51D83}"/>
              </a:ext>
            </a:extLst>
          </p:cNvPr>
          <p:cNvSpPr>
            <a:spLocks noGrp="1"/>
          </p:cNvSpPr>
          <p:nvPr>
            <p:ph type="pic" sz="quarter" idx="11"/>
          </p:nvPr>
        </p:nvSpPr>
        <p:spPr>
          <a:xfrm>
            <a:off x="0" y="0"/>
            <a:ext cx="4274277" cy="2792894"/>
          </a:xfrm>
          <a:custGeom>
            <a:avLst/>
            <a:gdLst>
              <a:gd name="connsiteX0" fmla="*/ 0 w 4274277"/>
              <a:gd name="connsiteY0" fmla="*/ 0 h 2552264"/>
              <a:gd name="connsiteX1" fmla="*/ 4274277 w 4274277"/>
              <a:gd name="connsiteY1" fmla="*/ 0 h 2552264"/>
              <a:gd name="connsiteX2" fmla="*/ 4274277 w 4274277"/>
              <a:gd name="connsiteY2" fmla="*/ 2075468 h 2552264"/>
              <a:gd name="connsiteX3" fmla="*/ 3797481 w 4274277"/>
              <a:gd name="connsiteY3" fmla="*/ 2552264 h 2552264"/>
              <a:gd name="connsiteX4" fmla="*/ 0 w 4274277"/>
              <a:gd name="connsiteY4" fmla="*/ 2552264 h 255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277" h="2552264">
                <a:moveTo>
                  <a:pt x="0" y="0"/>
                </a:moveTo>
                <a:lnTo>
                  <a:pt x="4274277" y="0"/>
                </a:lnTo>
                <a:lnTo>
                  <a:pt x="4274277" y="2075468"/>
                </a:lnTo>
                <a:cubicBezTo>
                  <a:pt x="4274277" y="2338795"/>
                  <a:pt x="4060808" y="2552264"/>
                  <a:pt x="3797481" y="2552264"/>
                </a:cubicBezTo>
                <a:lnTo>
                  <a:pt x="0" y="2552264"/>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59215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F9A85133-0FBF-44AF-91FC-1A824EC95F7B}"/>
              </a:ext>
            </a:extLst>
          </p:cNvPr>
          <p:cNvSpPr>
            <a:spLocks noGrp="1"/>
          </p:cNvSpPr>
          <p:nvPr>
            <p:ph type="pic" sz="quarter" idx="12"/>
          </p:nvPr>
        </p:nvSpPr>
        <p:spPr>
          <a:xfrm>
            <a:off x="1181636" y="1185529"/>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C1F51008-4ADC-44A7-8685-6B37847C8E04}"/>
              </a:ext>
            </a:extLst>
          </p:cNvPr>
          <p:cNvSpPr>
            <a:spLocks noGrp="1"/>
          </p:cNvSpPr>
          <p:nvPr>
            <p:ph type="pic" sz="quarter" idx="13"/>
          </p:nvPr>
        </p:nvSpPr>
        <p:spPr>
          <a:xfrm>
            <a:off x="7928364" y="1663574"/>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52840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5AB3B290-162D-4C2F-89AA-090BED65F0B0}"/>
              </a:ext>
            </a:extLst>
          </p:cNvPr>
          <p:cNvGrpSpPr/>
          <p:nvPr userDrawn="1"/>
        </p:nvGrpSpPr>
        <p:grpSpPr>
          <a:xfrm>
            <a:off x="1148916" y="1"/>
            <a:ext cx="3734353" cy="6858000"/>
            <a:chOff x="1148916" y="1"/>
            <a:chExt cx="3734353" cy="6858000"/>
          </a:xfrm>
        </p:grpSpPr>
        <p:sp>
          <p:nvSpPr>
            <p:cNvPr id="38" name="Rectangle 37">
              <a:extLst>
                <a:ext uri="{FF2B5EF4-FFF2-40B4-BE49-F238E27FC236}">
                  <a16:creationId xmlns="" xmlns:a16="http://schemas.microsoft.com/office/drawing/2014/main" id="{93A61495-90EB-4F73-AE7D-DE24CD1460F5}"/>
                </a:ext>
              </a:extLst>
            </p:cNvPr>
            <p:cNvSpPr/>
            <p:nvPr userDrawn="1"/>
          </p:nvSpPr>
          <p:spPr>
            <a:xfrm>
              <a:off x="1154048" y="1"/>
              <a:ext cx="3724088" cy="6858000"/>
            </a:xfrm>
            <a:prstGeom prst="rect">
              <a:avLst/>
            </a:prstGeom>
            <a:gradFill>
              <a:gsLst>
                <a:gs pos="1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9" name="Rectangle 38">
              <a:extLst>
                <a:ext uri="{FF2B5EF4-FFF2-40B4-BE49-F238E27FC236}">
                  <a16:creationId xmlns="" xmlns:a16="http://schemas.microsoft.com/office/drawing/2014/main" id="{4C9A0B75-3551-4FC4-8F04-F376A39D094D}"/>
                </a:ext>
              </a:extLst>
            </p:cNvPr>
            <p:cNvSpPr/>
            <p:nvPr userDrawn="1"/>
          </p:nvSpPr>
          <p:spPr>
            <a:xfrm>
              <a:off x="1148916" y="2302726"/>
              <a:ext cx="3734353" cy="2307374"/>
            </a:xfrm>
            <a:prstGeom prst="rect">
              <a:avLst/>
            </a:prstGeom>
            <a:solidFill>
              <a:schemeClr val="bg1"/>
            </a:solidFill>
            <a:ln>
              <a:noFill/>
            </a:ln>
            <a:effectLst>
              <a:outerShdw blurRad="254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43" name="Picture Placeholder 3">
            <a:extLst>
              <a:ext uri="{FF2B5EF4-FFF2-40B4-BE49-F238E27FC236}">
                <a16:creationId xmlns="" xmlns:a16="http://schemas.microsoft.com/office/drawing/2014/main" id="{9EB3610E-D8AD-4FBD-A1DD-6E7E93461C0C}"/>
              </a:ext>
            </a:extLst>
          </p:cNvPr>
          <p:cNvSpPr>
            <a:spLocks noGrp="1"/>
          </p:cNvSpPr>
          <p:nvPr>
            <p:ph type="pic" sz="quarter" idx="13"/>
          </p:nvPr>
        </p:nvSpPr>
        <p:spPr>
          <a:xfrm>
            <a:off x="1527670" y="2724558"/>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8" name="Picture Placeholder 3">
            <a:extLst>
              <a:ext uri="{FF2B5EF4-FFF2-40B4-BE49-F238E27FC236}">
                <a16:creationId xmlns="" xmlns:a16="http://schemas.microsoft.com/office/drawing/2014/main" id="{08A5F2E1-5913-4BCA-912F-2791D72B7C08}"/>
              </a:ext>
            </a:extLst>
          </p:cNvPr>
          <p:cNvSpPr>
            <a:spLocks noGrp="1"/>
          </p:cNvSpPr>
          <p:nvPr>
            <p:ph type="pic" sz="quarter" idx="14"/>
          </p:nvPr>
        </p:nvSpPr>
        <p:spPr>
          <a:xfrm>
            <a:off x="1519824" y="416996"/>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3" name="Picture Placeholder 3">
            <a:extLst>
              <a:ext uri="{FF2B5EF4-FFF2-40B4-BE49-F238E27FC236}">
                <a16:creationId xmlns="" xmlns:a16="http://schemas.microsoft.com/office/drawing/2014/main" id="{1ED70C1E-77EA-4387-83EF-AA2C4AEAE592}"/>
              </a:ext>
            </a:extLst>
          </p:cNvPr>
          <p:cNvSpPr>
            <a:spLocks noGrp="1"/>
          </p:cNvSpPr>
          <p:nvPr>
            <p:ph type="pic" sz="quarter" idx="15"/>
          </p:nvPr>
        </p:nvSpPr>
        <p:spPr>
          <a:xfrm>
            <a:off x="1527670" y="4986862"/>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21970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9" name="Picture Placeholder 3">
            <a:extLst>
              <a:ext uri="{FF2B5EF4-FFF2-40B4-BE49-F238E27FC236}">
                <a16:creationId xmlns="" xmlns:a16="http://schemas.microsoft.com/office/drawing/2014/main" id="{B140C7A0-6950-45CC-901F-C9FB0DFF1084}"/>
              </a:ext>
            </a:extLst>
          </p:cNvPr>
          <p:cNvSpPr>
            <a:spLocks noGrp="1"/>
          </p:cNvSpPr>
          <p:nvPr>
            <p:ph type="pic" sz="quarter" idx="14"/>
          </p:nvPr>
        </p:nvSpPr>
        <p:spPr>
          <a:xfrm>
            <a:off x="6494648" y="1171142"/>
            <a:ext cx="4219657" cy="451571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9575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1.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1.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38000">
              <a:schemeClr val="bg1">
                <a:lumMod val="95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C29D9C2C-A14F-4C47-A513-E94E5B6FB8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D0EC7A0A-04CC-4A56-872C-E35BC39138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45992E0-C3A2-4F78-B1ED-41D460F01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3C62E4B3-391B-49C0-A673-98A96C983FB5}" type="datetimeFigureOut">
              <a:rPr lang="en-US" smtClean="0"/>
              <a:pPr/>
              <a:t>9/30/2024</a:t>
            </a:fld>
            <a:endParaRPr lang="en-US"/>
          </a:p>
        </p:txBody>
      </p:sp>
      <p:sp>
        <p:nvSpPr>
          <p:cNvPr id="5" name="Footer Placeholder 4">
            <a:extLst>
              <a:ext uri="{FF2B5EF4-FFF2-40B4-BE49-F238E27FC236}">
                <a16:creationId xmlns="" xmlns:a16="http://schemas.microsoft.com/office/drawing/2014/main" id="{6AE00A14-8F1E-4B19-A0DA-478EC40B8D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 xmlns:a16="http://schemas.microsoft.com/office/drawing/2014/main" id="{070BC492-D27B-4468-B9A6-481D4052EA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AA98139-DA01-49B0-927E-FE0B7A59B93B}" type="slidenum">
              <a:rPr lang="en-US" smtClean="0"/>
              <a:pPr/>
              <a:t>‹#›</a:t>
            </a:fld>
            <a:endParaRPr lang="en-US"/>
          </a:p>
        </p:txBody>
      </p:sp>
      <p:sp>
        <p:nvSpPr>
          <p:cNvPr id="7" name="Rectangle 6">
            <a:extLst>
              <a:ext uri="{FF2B5EF4-FFF2-40B4-BE49-F238E27FC236}">
                <a16:creationId xmlns="" xmlns:a16="http://schemas.microsoft.com/office/drawing/2014/main" id="{110BE49C-A9FF-4D75-B358-B3DB2F3CE57D}"/>
              </a:ext>
            </a:extLst>
          </p:cNvPr>
          <p:cNvSpPr/>
          <p:nvPr userDrawn="1"/>
        </p:nvSpPr>
        <p:spPr>
          <a:xfrm>
            <a:off x="11551458" y="7844"/>
            <a:ext cx="640542" cy="6842314"/>
          </a:xfrm>
          <a:prstGeom prst="rect">
            <a:avLst/>
          </a:prstGeom>
          <a:solidFill>
            <a:schemeClr val="bg1"/>
          </a:solidFill>
          <a:ln>
            <a:noFill/>
          </a:ln>
          <a:effectLst>
            <a:outerShdw blurRad="152400" dist="38100" dir="10800000" algn="r" rotWithShape="0">
              <a:schemeClr val="bg1">
                <a:lumMod val="8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55077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E9FDA5C-FE29-41D1-B6D7-2AD90C9A59C8}"/>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550859"/>
            <a:ext cx="10515600" cy="636105"/>
          </a:xfrm>
          <a:prstGeom prst="rect">
            <a:avLst/>
          </a:prstGeom>
        </p:spPr>
        <p:txBody>
          <a:bodyPr vert="horz" lIns="91440" tIns="45720" rIns="91440" bIns="45720" rtlCol="0" anchor="b">
            <a:normAutofit/>
          </a:bodyPr>
          <a:lstStyle/>
          <a:p>
            <a:r>
              <a:rPr lang="en-US" dirty="0"/>
              <a:t>Title</a:t>
            </a:r>
          </a:p>
        </p:txBody>
      </p:sp>
      <p:sp>
        <p:nvSpPr>
          <p:cNvPr id="3" name="Text Placeholder 2"/>
          <p:cNvSpPr>
            <a:spLocks noGrp="1"/>
          </p:cNvSpPr>
          <p:nvPr>
            <p:ph type="body" idx="1"/>
          </p:nvPr>
        </p:nvSpPr>
        <p:spPr>
          <a:xfrm>
            <a:off x="838200" y="1380152"/>
            <a:ext cx="10515600" cy="47968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70152"/>
            <a:ext cx="886943" cy="306875"/>
          </a:xfrm>
          <a:prstGeom prst="rect">
            <a:avLst/>
          </a:prstGeom>
        </p:spPr>
        <p:txBody>
          <a:bodyPr vert="horz" lIns="0" tIns="0" rIns="0" bIns="0" rtlCol="0" anchor="t"/>
          <a:lstStyle>
            <a:lvl1pPr algn="l">
              <a:defRPr sz="1100">
                <a:solidFill>
                  <a:schemeClr val="accent1"/>
                </a:solidFill>
                <a:latin typeface="GE SS Unique"/>
              </a:defRPr>
            </a:lvl1pPr>
          </a:lstStyle>
          <a:p>
            <a:r>
              <a:rPr lang="en-US">
                <a:solidFill>
                  <a:srgbClr val="008755"/>
                </a:solidFill>
              </a:rPr>
              <a:t>9/14/2021</a:t>
            </a:r>
            <a:endParaRPr lang="en-US" dirty="0">
              <a:solidFill>
                <a:srgbClr val="008755"/>
              </a:solidFill>
            </a:endParaRPr>
          </a:p>
        </p:txBody>
      </p:sp>
      <p:sp>
        <p:nvSpPr>
          <p:cNvPr id="6" name="Slide Number Placeholder 5"/>
          <p:cNvSpPr>
            <a:spLocks noGrp="1"/>
          </p:cNvSpPr>
          <p:nvPr>
            <p:ph type="sldNum" sz="quarter" idx="4"/>
          </p:nvPr>
        </p:nvSpPr>
        <p:spPr>
          <a:xfrm>
            <a:off x="10931504" y="6370152"/>
            <a:ext cx="422295" cy="306875"/>
          </a:xfrm>
          <a:prstGeom prst="rect">
            <a:avLst/>
          </a:prstGeom>
        </p:spPr>
        <p:txBody>
          <a:bodyPr vert="horz" lIns="0" tIns="0" rIns="0" bIns="0" rtlCol="0" anchor="t"/>
          <a:lstStyle>
            <a:lvl1pPr algn="r">
              <a:defRPr sz="1100">
                <a:solidFill>
                  <a:schemeClr val="accent1"/>
                </a:solidFill>
                <a:latin typeface="GE SS Unique"/>
              </a:defRPr>
            </a:lvl1pPr>
          </a:lstStyle>
          <a:p>
            <a:fld id="{72B5FAF0-EAE8-024B-ACFB-69B605C1F7C8}" type="slidenum">
              <a:rPr lang="en-US" smtClean="0">
                <a:solidFill>
                  <a:srgbClr val="008755"/>
                </a:solidFill>
              </a:rPr>
              <a:pPr/>
              <a:t>‹#›</a:t>
            </a:fld>
            <a:endParaRPr lang="en-US" dirty="0">
              <a:solidFill>
                <a:srgbClr val="008755"/>
              </a:solidFill>
            </a:endParaRPr>
          </a:p>
        </p:txBody>
      </p:sp>
      <p:sp>
        <p:nvSpPr>
          <p:cNvPr id="5" name="Footer Placeholder 4">
            <a:extLst>
              <a:ext uri="{FF2B5EF4-FFF2-40B4-BE49-F238E27FC236}">
                <a16:creationId xmlns="" xmlns:a16="http://schemas.microsoft.com/office/drawing/2014/main" id="{86862088-EEA8-4E63-AD80-72AF24633F4D}"/>
              </a:ext>
            </a:extLst>
          </p:cNvPr>
          <p:cNvSpPr>
            <a:spLocks noGrp="1"/>
          </p:cNvSpPr>
          <p:nvPr>
            <p:ph type="ftr" sz="quarter" idx="3"/>
          </p:nvPr>
        </p:nvSpPr>
        <p:spPr>
          <a:xfrm>
            <a:off x="1844873" y="6370152"/>
            <a:ext cx="8966900" cy="306875"/>
          </a:xfrm>
          <a:prstGeom prst="rect">
            <a:avLst/>
          </a:prstGeom>
        </p:spPr>
        <p:txBody>
          <a:bodyPr vert="horz" lIns="0" tIns="0" rIns="0" bIns="0" rtlCol="0" anchor="t"/>
          <a:lstStyle>
            <a:lvl1pPr algn="l">
              <a:defRPr sz="800">
                <a:solidFill>
                  <a:schemeClr val="tx1"/>
                </a:solidFill>
                <a:latin typeface="GE SS Unique"/>
              </a:defRPr>
            </a:lvl1p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pic>
        <p:nvPicPr>
          <p:cNvPr id="8" name="Picture 7">
            <a:extLst>
              <a:ext uri="{FF2B5EF4-FFF2-40B4-BE49-F238E27FC236}">
                <a16:creationId xmlns="" xmlns:a16="http://schemas.microsoft.com/office/drawing/2014/main" id="{D2066844-B30C-48BF-B684-E7C51B8C091F}"/>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b="30516"/>
          <a:stretch/>
        </p:blipFill>
        <p:spPr>
          <a:xfrm>
            <a:off x="8070573" y="3"/>
            <a:ext cx="4121425" cy="1380149"/>
          </a:xfrm>
          <a:prstGeom prst="rect">
            <a:avLst/>
          </a:prstGeom>
        </p:spPr>
      </p:pic>
    </p:spTree>
    <p:extLst>
      <p:ext uri="{BB962C8B-B14F-4D97-AF65-F5344CB8AC3E}">
        <p14:creationId xmlns:p14="http://schemas.microsoft.com/office/powerpoint/2010/main" val="261329176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8" r:id="rId11"/>
  </p:sldLayoutIdLst>
  <p:hf hdr="0"/>
  <p:txStyles>
    <p:titleStyle>
      <a:lvl1pPr algn="l" defTabSz="914400" rtl="0" eaLnBrk="1" latinLnBrk="0" hangingPunct="1">
        <a:lnSpc>
          <a:spcPct val="90000"/>
        </a:lnSpc>
        <a:spcBef>
          <a:spcPct val="0"/>
        </a:spcBef>
        <a:buNone/>
        <a:defRPr sz="2800" b="1" i="0" kern="1200">
          <a:solidFill>
            <a:srgbClr val="1B8654"/>
          </a:solidFill>
          <a:latin typeface="GE SS Unique"/>
          <a:ea typeface="GE SS Unique"/>
          <a:cs typeface="GE SS Unique"/>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1800" b="0" i="0" kern="1200">
          <a:solidFill>
            <a:srgbClr val="000000"/>
          </a:solidFill>
          <a:latin typeface="GE SS Unique"/>
          <a:ea typeface="GE SS Unique Light" charset="0"/>
          <a:cs typeface="GE SS Unique Light"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rgbClr val="000000"/>
          </a:solidFill>
          <a:latin typeface="GE SS Unique"/>
          <a:ea typeface="GE SS Unique Light" charset="0"/>
          <a:cs typeface="GE SS Unique Light"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rgbClr val="000000"/>
          </a:solidFill>
          <a:latin typeface="GE SS Unique"/>
          <a:ea typeface="GE SS Unique Light" charset="0"/>
          <a:cs typeface="GE SS Unique Light"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 xmlns:a16="http://schemas.microsoft.com/office/drawing/2014/main" id="{EB5A64D8-DFF5-9C14-1C21-213C0F4505E1}"/>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239" b="10239"/>
          <a:stretch/>
        </p:blipFill>
        <p:spPr>
          <a:xfrm>
            <a:off x="0" y="-5610"/>
            <a:ext cx="12192000" cy="6858000"/>
          </a:xfrm>
        </p:spPr>
      </p:pic>
      <p:sp>
        <p:nvSpPr>
          <p:cNvPr id="194" name="TextBox 193">
            <a:extLst>
              <a:ext uri="{FF2B5EF4-FFF2-40B4-BE49-F238E27FC236}">
                <a16:creationId xmlns="" xmlns:a16="http://schemas.microsoft.com/office/drawing/2014/main" id="{5435D8C9-DB01-49E2-8993-1B2E74860FB3}"/>
              </a:ext>
            </a:extLst>
          </p:cNvPr>
          <p:cNvSpPr txBox="1"/>
          <p:nvPr/>
        </p:nvSpPr>
        <p:spPr>
          <a:xfrm>
            <a:off x="5894047" y="3490941"/>
            <a:ext cx="5113922" cy="1054135"/>
          </a:xfrm>
          <a:prstGeom prst="rect">
            <a:avLst/>
          </a:prstGeom>
          <a:noFill/>
        </p:spPr>
        <p:txBody>
          <a:bodyPr wrap="square" rtlCol="0">
            <a:spAutoFit/>
          </a:bodyPr>
          <a:lstStyle/>
          <a:p>
            <a:pPr marL="54665" marR="3976" indent="-45223">
              <a:spcBef>
                <a:spcPts val="262"/>
              </a:spcBef>
            </a:pPr>
            <a:r>
              <a:rPr lang="en-US" sz="4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Geriatric Care</a:t>
            </a:r>
            <a:endParaRPr lang="ar-SA" sz="4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a:p>
            <a:pPr marL="54665" marR="3976" indent="-45223">
              <a:spcBef>
                <a:spcPts val="262"/>
              </a:spcBef>
            </a:pPr>
            <a:r>
              <a:rPr lang="en-US" sz="2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30/09/2024</a:t>
            </a:r>
            <a:endParaRPr lang="en-US" sz="2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p:txBody>
      </p:sp>
    </p:spTree>
    <p:extLst>
      <p:ext uri="{BB962C8B-B14F-4D97-AF65-F5344CB8AC3E}">
        <p14:creationId xmlns:p14="http://schemas.microsoft.com/office/powerpoint/2010/main" val="2937415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Hematological</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Maintains adequate function with aging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Overall, cell counts and parameters in the peripheral blood are not significantly different from in young adult life</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EPO response to anemia in older subjects is similar to that of younger subjects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Functional reserves are reduced with age due to a decreased bone marrow mass and an increase in fat</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Total circulating white cells counts do not change with age in healthy older people, but the function of several cell types is reduced</a:t>
            </a:r>
          </a:p>
        </p:txBody>
      </p:sp>
    </p:spTree>
    <p:extLst>
      <p:ext uri="{BB962C8B-B14F-4D97-AF65-F5344CB8AC3E}">
        <p14:creationId xmlns:p14="http://schemas.microsoft.com/office/powerpoint/2010/main" val="26070860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Gastrointestinal</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Gastric cells reduced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Increased post prandial gastric pH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Less effective mastication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ecreased food clearance</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Muscle tone reduced, peristalsis reduced</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Hepatic size reduced, blood flow reduced</a:t>
            </a:r>
          </a:p>
        </p:txBody>
      </p:sp>
    </p:spTree>
    <p:extLst>
      <p:ext uri="{BB962C8B-B14F-4D97-AF65-F5344CB8AC3E}">
        <p14:creationId xmlns:p14="http://schemas.microsoft.com/office/powerpoint/2010/main" val="4963881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Endocrine </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Glucose homeostasis</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Reproductive function</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Calcium metabolism</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drenal function</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Thyroid function </a:t>
            </a:r>
          </a:p>
        </p:txBody>
      </p:sp>
    </p:spTree>
    <p:extLst>
      <p:ext uri="{BB962C8B-B14F-4D97-AF65-F5344CB8AC3E}">
        <p14:creationId xmlns:p14="http://schemas.microsoft.com/office/powerpoint/2010/main" val="39485237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Genitourinary </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Urinary incontinence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Urinary tract infection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Erectile dysfunction</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yspareunia</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ecrease in detrusor muscle contractility</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ecrease in maximum bladder capacity</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ecrease ability to withhold voiding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n increase in </a:t>
            </a:r>
            <a:r>
              <a:rPr lang="en-US" sz="2400" dirty="0" err="1">
                <a:solidFill>
                  <a:schemeClr val="tx1"/>
                </a:solidFill>
                <a:latin typeface="Calibri Light" panose="020F0302020204030204" pitchFamily="34" charset="0"/>
                <a:cs typeface="TheSans" panose="020B0503040302020203" pitchFamily="34" charset="-78"/>
              </a:rPr>
              <a:t>postvoid</a:t>
            </a:r>
            <a:r>
              <a:rPr lang="en-US" sz="2400" dirty="0">
                <a:solidFill>
                  <a:schemeClr val="tx1"/>
                </a:solidFill>
                <a:latin typeface="Calibri Light" panose="020F0302020204030204" pitchFamily="34" charset="0"/>
                <a:cs typeface="TheSans" panose="020B0503040302020203" pitchFamily="34" charset="-78"/>
              </a:rPr>
              <a:t> residual</a:t>
            </a:r>
          </a:p>
        </p:txBody>
      </p:sp>
    </p:spTree>
    <p:extLst>
      <p:ext uri="{BB962C8B-B14F-4D97-AF65-F5344CB8AC3E}">
        <p14:creationId xmlns:p14="http://schemas.microsoft.com/office/powerpoint/2010/main" val="118385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Picture Placeholder 2"/>
          <p:cNvSpPr>
            <a:spLocks noGrp="1"/>
          </p:cNvSpPr>
          <p:nvPr>
            <p:ph type="pic" sz="quarter" idx="11"/>
          </p:nvPr>
        </p:nvSpPr>
        <p:spPr/>
      </p:sp>
      <p:pic>
        <p:nvPicPr>
          <p:cNvPr id="4" name="Picture 3"/>
          <p:cNvPicPr>
            <a:picLocks noChangeAspect="1"/>
          </p:cNvPicPr>
          <p:nvPr/>
        </p:nvPicPr>
        <p:blipFill>
          <a:blip r:embed="rId2"/>
          <a:stretch>
            <a:fillRect/>
          </a:stretch>
        </p:blipFill>
        <p:spPr>
          <a:xfrm>
            <a:off x="25150" y="-152587"/>
            <a:ext cx="12166850" cy="7010588"/>
          </a:xfrm>
          <a:prstGeom prst="rect">
            <a:avLst/>
          </a:prstGeom>
        </p:spPr>
      </p:pic>
    </p:spTree>
    <p:extLst>
      <p:ext uri="{BB962C8B-B14F-4D97-AF65-F5344CB8AC3E}">
        <p14:creationId xmlns:p14="http://schemas.microsoft.com/office/powerpoint/2010/main" val="20836497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Musculoskeletal</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Loss of muscle is greater and faster from the legs than from the arms</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ctivity may decrease rate of decline</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The loss of muscle contributes to age-related changes in body composition, and distribution for water soluble drugs</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Decrease bone density</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Increase liability to fracture</a:t>
            </a:r>
          </a:p>
        </p:txBody>
      </p:sp>
    </p:spTree>
    <p:extLst>
      <p:ext uri="{BB962C8B-B14F-4D97-AF65-F5344CB8AC3E}">
        <p14:creationId xmlns:p14="http://schemas.microsoft.com/office/powerpoint/2010/main" val="37720311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Common medical problem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Arthritis</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Hypertensive Disease</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Heart Disease</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Hearing Impairments</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Musculoskeletal impairments</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Chronic </a:t>
            </a:r>
            <a:r>
              <a:rPr lang="en-US" sz="2400" b="1" dirty="0" smtClean="0">
                <a:solidFill>
                  <a:schemeClr val="tx1"/>
                </a:solidFill>
                <a:latin typeface="Calibri Light" panose="020F0302020204030204" pitchFamily="34" charset="0"/>
                <a:cs typeface="TheSans" panose="020B0503040302020203" pitchFamily="34" charset="-78"/>
              </a:rPr>
              <a:t>kidney disease</a:t>
            </a: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Diabetes</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Visual Impairments</a:t>
            </a:r>
          </a:p>
          <a:p>
            <a:pPr lvl="0" defTabSz="685800">
              <a:lnSpc>
                <a:spcPct val="90000"/>
              </a:lnSpc>
              <a:spcBef>
                <a:spcPts val="750"/>
              </a:spcBef>
            </a:pPr>
            <a:r>
              <a:rPr lang="en-US" sz="2400" b="1" dirty="0" smtClean="0">
                <a:solidFill>
                  <a:schemeClr val="tx1"/>
                </a:solidFill>
                <a:latin typeface="Calibri Light" panose="020F0302020204030204" pitchFamily="34" charset="0"/>
                <a:cs typeface="TheSans" panose="020B0503040302020203" pitchFamily="34" charset="-78"/>
              </a:rPr>
              <a:t>Cancer</a:t>
            </a:r>
          </a:p>
          <a:p>
            <a:pPr lvl="0" defTabSz="685800">
              <a:lnSpc>
                <a:spcPct val="90000"/>
              </a:lnSpc>
              <a:spcBef>
                <a:spcPts val="750"/>
              </a:spcBef>
            </a:pPr>
            <a:r>
              <a:rPr lang="en-US" sz="2400" b="1" dirty="0" smtClean="0">
                <a:solidFill>
                  <a:schemeClr val="tx1"/>
                </a:solidFill>
                <a:latin typeface="Calibri Light" panose="020F0302020204030204" pitchFamily="34" charset="0"/>
                <a:cs typeface="TheSans" panose="020B0503040302020203" pitchFamily="34" charset="-78"/>
              </a:rPr>
              <a:t>Depression </a:t>
            </a:r>
          </a:p>
          <a:p>
            <a:pPr lvl="0" defTabSz="685800">
              <a:lnSpc>
                <a:spcPct val="90000"/>
              </a:lnSpc>
              <a:spcBef>
                <a:spcPts val="750"/>
              </a:spcBef>
            </a:pPr>
            <a:r>
              <a:rPr lang="en-US" sz="2400" b="1" dirty="0" smtClean="0">
                <a:solidFill>
                  <a:schemeClr val="tx1"/>
                </a:solidFill>
                <a:latin typeface="Calibri Light" panose="020F0302020204030204" pitchFamily="34" charset="0"/>
                <a:cs typeface="TheSans" panose="020B0503040302020203" pitchFamily="34" charset="-78"/>
              </a:rPr>
              <a:t>Sleep disorder</a:t>
            </a:r>
          </a:p>
          <a:p>
            <a:pPr lvl="0" defTabSz="685800">
              <a:lnSpc>
                <a:spcPct val="90000"/>
              </a:lnSpc>
              <a:spcBef>
                <a:spcPts val="750"/>
              </a:spcBef>
            </a:pPr>
            <a:r>
              <a:rPr lang="en-US" sz="2400" b="1" dirty="0" smtClean="0">
                <a:solidFill>
                  <a:schemeClr val="tx1"/>
                </a:solidFill>
                <a:latin typeface="Calibri Light" panose="020F0302020204030204" pitchFamily="34" charset="0"/>
                <a:cs typeface="TheSans" panose="020B0503040302020203" pitchFamily="34" charset="-78"/>
              </a:rPr>
              <a:t>Neurological problems</a:t>
            </a:r>
            <a:endParaRPr lang="en-US" sz="2400" b="1" dirty="0">
              <a:solidFill>
                <a:schemeClr val="tx1"/>
              </a:solidFill>
              <a:latin typeface="Calibri Light" panose="020F0302020204030204" pitchFamily="34" charset="0"/>
              <a:cs typeface="TheSans" panose="020B0503040302020203" pitchFamily="34" charset="-78"/>
            </a:endParaRPr>
          </a:p>
        </p:txBody>
      </p:sp>
      <p:pic>
        <p:nvPicPr>
          <p:cNvPr id="3" name="Picture 2"/>
          <p:cNvPicPr>
            <a:picLocks noChangeAspect="1"/>
          </p:cNvPicPr>
          <p:nvPr/>
        </p:nvPicPr>
        <p:blipFill>
          <a:blip r:embed="rId3"/>
          <a:stretch>
            <a:fillRect/>
          </a:stretch>
        </p:blipFill>
        <p:spPr>
          <a:xfrm>
            <a:off x="4497870" y="1258065"/>
            <a:ext cx="7022877" cy="6835305"/>
          </a:xfrm>
          <a:prstGeom prst="rect">
            <a:avLst/>
          </a:prstGeom>
        </p:spPr>
      </p:pic>
      <p:sp>
        <p:nvSpPr>
          <p:cNvPr id="4" name="AutoShape 2" descr="10 Common Chronic Conditions for Adults 65+"/>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ar-SA"/>
          </a:p>
        </p:txBody>
      </p:sp>
    </p:spTree>
    <p:extLst>
      <p:ext uri="{BB962C8B-B14F-4D97-AF65-F5344CB8AC3E}">
        <p14:creationId xmlns:p14="http://schemas.microsoft.com/office/powerpoint/2010/main" val="35264876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terminants of active healthy aging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endParaRPr lang="en-US" sz="2800" i="1" dirty="0">
              <a:solidFill>
                <a:schemeClr val="tx1"/>
              </a:solidFill>
              <a:latin typeface="Corbel" panose="020B0503020204020204" pitchFamily="34" charset="0"/>
              <a:cs typeface="TheSans" panose="020B0503040302020203" pitchFamily="34"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2167734667"/>
              </p:ext>
            </p:extLst>
          </p:nvPr>
        </p:nvGraphicFramePr>
        <p:xfrm>
          <a:off x="-33658" y="1257300"/>
          <a:ext cx="11569165" cy="5600701"/>
        </p:xfrm>
        <a:graphic>
          <a:graphicData uri="http://schemas.openxmlformats.org/drawingml/2006/table">
            <a:tbl>
              <a:tblPr rtl="1" firstRow="1" bandRow="1">
                <a:tableStyleId>{5C22544A-7EE6-4342-B048-85BDC9FD1C3A}</a:tableStyleId>
              </a:tblPr>
              <a:tblGrid>
                <a:gridCol w="6036833"/>
                <a:gridCol w="5532332"/>
              </a:tblGrid>
              <a:tr h="847192">
                <a:tc>
                  <a:txBody>
                    <a:bodyPr/>
                    <a:lstStyle/>
                    <a:p>
                      <a:pPr rtl="1"/>
                      <a:r>
                        <a:rPr lang="en-US" sz="1800" dirty="0" smtClean="0"/>
                        <a:t>Examples</a:t>
                      </a:r>
                      <a:r>
                        <a:rPr lang="en-US" sz="1800" baseline="0" dirty="0" smtClean="0"/>
                        <a:t> </a:t>
                      </a:r>
                      <a:endParaRPr lang="en-US" sz="1800" dirty="0" smtClean="0"/>
                    </a:p>
                  </a:txBody>
                  <a:tcPr>
                    <a:solidFill>
                      <a:srgbClr val="03A5B8"/>
                    </a:solidFill>
                  </a:tcPr>
                </a:tc>
                <a:tc>
                  <a:txBody>
                    <a:bodyPr/>
                    <a:lstStyle/>
                    <a:p>
                      <a:pPr rtl="1"/>
                      <a:r>
                        <a:rPr lang="en-US" sz="1800" dirty="0" smtClean="0"/>
                        <a:t>Determinants</a:t>
                      </a:r>
                      <a:r>
                        <a:rPr lang="en-US" sz="1800" baseline="0" dirty="0" smtClean="0"/>
                        <a:t> </a:t>
                      </a:r>
                      <a:endParaRPr lang="en-US" sz="1800" dirty="0" smtClean="0"/>
                    </a:p>
                  </a:txBody>
                  <a:tcPr>
                    <a:solidFill>
                      <a:srgbClr val="03A5B8"/>
                    </a:solidFill>
                  </a:tcPr>
                </a:tc>
              </a:tr>
              <a:tr h="657821">
                <a:tc>
                  <a:txBody>
                    <a:bodyPr/>
                    <a:lstStyle/>
                    <a:p>
                      <a:pPr rtl="1"/>
                      <a:r>
                        <a:rPr lang="en-US" sz="1800" b="0" i="0" kern="1200" dirty="0" smtClean="0">
                          <a:solidFill>
                            <a:schemeClr val="dk1"/>
                          </a:solidFill>
                          <a:effectLst/>
                          <a:latin typeface="+mn-lt"/>
                          <a:ea typeface="+mn-ea"/>
                          <a:cs typeface="+mn-cs"/>
                        </a:rPr>
                        <a:t>Income, work and social protection</a:t>
                      </a:r>
                      <a:endParaRPr lang="en-US" sz="1800" dirty="0" smtClean="0"/>
                    </a:p>
                  </a:txBody>
                  <a:tcPr>
                    <a:solidFill>
                      <a:srgbClr val="BEF8FE"/>
                    </a:solidFill>
                  </a:tcPr>
                </a:tc>
                <a:tc>
                  <a:txBody>
                    <a:bodyPr/>
                    <a:lstStyle/>
                    <a:p>
                      <a:pPr rtl="1"/>
                      <a:r>
                        <a:rPr lang="en-US" sz="1800" dirty="0" smtClean="0"/>
                        <a:t>Economic determinants</a:t>
                      </a:r>
                    </a:p>
                  </a:txBody>
                  <a:tcPr>
                    <a:solidFill>
                      <a:srgbClr val="BEF8FE"/>
                    </a:solidFill>
                  </a:tcPr>
                </a:tc>
              </a:tr>
              <a:tr h="697689">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b="0" i="0" kern="1200" dirty="0" smtClean="0">
                          <a:solidFill>
                            <a:schemeClr val="dk1"/>
                          </a:solidFill>
                          <a:effectLst/>
                          <a:latin typeface="+mn-lt"/>
                          <a:ea typeface="+mn-ea"/>
                          <a:cs typeface="+mn-cs"/>
                        </a:rPr>
                        <a:t>Access to quality health and social services</a:t>
                      </a:r>
                      <a:endParaRPr lang="en-US" sz="1800" dirty="0" smtClean="0"/>
                    </a:p>
                  </a:txBody>
                  <a:tcPr>
                    <a:solidFill>
                      <a:srgbClr val="7FF1FD"/>
                    </a:solidFill>
                  </a:tcPr>
                </a:tc>
                <a:tc>
                  <a:txBody>
                    <a:bodyPr/>
                    <a:lstStyle/>
                    <a:p>
                      <a:pPr rtl="1"/>
                      <a:r>
                        <a:rPr lang="en-US" sz="1800" b="0" i="0" kern="1200" dirty="0" smtClean="0">
                          <a:solidFill>
                            <a:schemeClr val="dk1"/>
                          </a:solidFill>
                          <a:effectLst/>
                          <a:latin typeface="+mn-lt"/>
                          <a:ea typeface="+mn-ea"/>
                          <a:cs typeface="+mn-cs"/>
                        </a:rPr>
                        <a:t>Health and social service systems</a:t>
                      </a:r>
                      <a:endParaRPr lang="en-US" sz="1800" dirty="0" smtClean="0"/>
                    </a:p>
                  </a:txBody>
                  <a:tcPr>
                    <a:solidFill>
                      <a:srgbClr val="7FF1FD"/>
                    </a:solidFill>
                  </a:tcPr>
                </a:tc>
              </a:tr>
              <a:tr h="767458">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b="0" i="0" kern="1200" dirty="0" smtClean="0">
                          <a:solidFill>
                            <a:schemeClr val="dk1"/>
                          </a:solidFill>
                          <a:effectLst/>
                          <a:latin typeface="+mn-lt"/>
                          <a:ea typeface="+mn-ea"/>
                          <a:cs typeface="+mn-cs"/>
                        </a:rPr>
                        <a:t>Housing, </a:t>
                      </a:r>
                      <a:r>
                        <a:rPr lang="en-US" sz="1800" b="0" i="0" kern="1200" dirty="0" err="1" smtClean="0">
                          <a:solidFill>
                            <a:schemeClr val="dk1"/>
                          </a:solidFill>
                          <a:effectLst/>
                          <a:latin typeface="+mn-lt"/>
                          <a:ea typeface="+mn-ea"/>
                          <a:cs typeface="+mn-cs"/>
                        </a:rPr>
                        <a:t>neighbourhood</a:t>
                      </a:r>
                      <a:r>
                        <a:rPr lang="en-US" sz="1800" b="0" i="0" kern="1200" dirty="0" smtClean="0">
                          <a:solidFill>
                            <a:schemeClr val="dk1"/>
                          </a:solidFill>
                          <a:effectLst/>
                          <a:latin typeface="+mn-lt"/>
                          <a:ea typeface="+mn-ea"/>
                          <a:cs typeface="+mn-cs"/>
                        </a:rPr>
                        <a:t> and surroundings, transportation</a:t>
                      </a:r>
                      <a:endParaRPr lang="en-US" sz="1800" dirty="0" smtClean="0"/>
                    </a:p>
                  </a:txBody>
                  <a:tcPr>
                    <a:solidFill>
                      <a:srgbClr val="BEF8FE"/>
                    </a:solidFill>
                  </a:tcPr>
                </a:tc>
                <a:tc>
                  <a:txBody>
                    <a:bodyPr/>
                    <a:lstStyle/>
                    <a:p>
                      <a:pPr rtl="1"/>
                      <a:r>
                        <a:rPr lang="en-US" sz="1800" b="0" i="0" kern="1200" dirty="0" smtClean="0">
                          <a:solidFill>
                            <a:schemeClr val="dk1"/>
                          </a:solidFill>
                          <a:effectLst/>
                          <a:latin typeface="+mn-lt"/>
                          <a:ea typeface="+mn-ea"/>
                          <a:cs typeface="+mn-cs"/>
                        </a:rPr>
                        <a:t>Physical environment</a:t>
                      </a:r>
                      <a:endParaRPr lang="en-US" sz="1800" dirty="0" smtClean="0"/>
                    </a:p>
                  </a:txBody>
                  <a:tcPr>
                    <a:solidFill>
                      <a:srgbClr val="BEF8FE"/>
                    </a:solidFill>
                  </a:tcPr>
                </a:tc>
              </a:tr>
              <a:tr h="646898">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b="0" i="0" kern="1200" dirty="0" smtClean="0">
                          <a:solidFill>
                            <a:schemeClr val="dk1"/>
                          </a:solidFill>
                          <a:effectLst/>
                          <a:latin typeface="+mn-lt"/>
                          <a:ea typeface="+mn-ea"/>
                          <a:cs typeface="+mn-cs"/>
                        </a:rPr>
                        <a:t>Social support and degree of social interaction</a:t>
                      </a:r>
                      <a:endParaRPr lang="en-US" sz="1800" dirty="0" smtClean="0"/>
                    </a:p>
                  </a:txBody>
                  <a:tcPr>
                    <a:solidFill>
                      <a:srgbClr val="7FF1FD"/>
                    </a:solidFill>
                  </a:tcPr>
                </a:tc>
                <a:tc>
                  <a:txBody>
                    <a:bodyPr/>
                    <a:lstStyle/>
                    <a:p>
                      <a:pPr rtl="1"/>
                      <a:r>
                        <a:rPr lang="en-US" sz="1800" b="0" i="0" kern="1200" dirty="0" smtClean="0">
                          <a:solidFill>
                            <a:schemeClr val="dk1"/>
                          </a:solidFill>
                          <a:effectLst/>
                          <a:latin typeface="+mn-lt"/>
                          <a:ea typeface="+mn-ea"/>
                          <a:cs typeface="+mn-cs"/>
                        </a:rPr>
                        <a:t>Social environment</a:t>
                      </a:r>
                      <a:endParaRPr lang="en-US" sz="1800" dirty="0" smtClean="0"/>
                    </a:p>
                  </a:txBody>
                  <a:tcPr>
                    <a:solidFill>
                      <a:srgbClr val="7FF1FD"/>
                    </a:solidFill>
                  </a:tcPr>
                </a:tc>
              </a:tr>
              <a:tr h="566755">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b="0" i="0" kern="1200" dirty="0" smtClean="0">
                          <a:solidFill>
                            <a:schemeClr val="dk1"/>
                          </a:solidFill>
                          <a:effectLst/>
                          <a:latin typeface="+mn-lt"/>
                          <a:ea typeface="+mn-ea"/>
                          <a:cs typeface="+mn-cs"/>
                        </a:rPr>
                        <a:t>Cultural values, norms and traditions, genetic </a:t>
                      </a:r>
                      <a:r>
                        <a:rPr lang="en-US" sz="1800" b="0" i="0" kern="1200" dirty="0" err="1" smtClean="0">
                          <a:solidFill>
                            <a:schemeClr val="dk1"/>
                          </a:solidFill>
                          <a:effectLst/>
                          <a:latin typeface="+mn-lt"/>
                          <a:ea typeface="+mn-ea"/>
                          <a:cs typeface="+mn-cs"/>
                        </a:rPr>
                        <a:t>influenc</a:t>
                      </a:r>
                      <a:endParaRPr lang="en-US" sz="1800" dirty="0" smtClean="0"/>
                    </a:p>
                  </a:txBody>
                  <a:tcPr>
                    <a:solidFill>
                      <a:srgbClr val="BEF8FE"/>
                    </a:solidFill>
                  </a:tcPr>
                </a:tc>
                <a:tc>
                  <a:txBody>
                    <a:bodyPr/>
                    <a:lstStyle/>
                    <a:p>
                      <a:pPr rtl="1"/>
                      <a:r>
                        <a:rPr lang="en-US" sz="1800" b="0" i="0" kern="1200" dirty="0" smtClean="0">
                          <a:solidFill>
                            <a:schemeClr val="dk1"/>
                          </a:solidFill>
                          <a:effectLst/>
                          <a:latin typeface="+mn-lt"/>
                          <a:ea typeface="+mn-ea"/>
                          <a:cs typeface="+mn-cs"/>
                        </a:rPr>
                        <a:t>Cultural and personal determinants</a:t>
                      </a:r>
                      <a:endParaRPr lang="ar-SA" sz="1800" dirty="0"/>
                    </a:p>
                  </a:txBody>
                  <a:tcPr>
                    <a:solidFill>
                      <a:srgbClr val="BEF8FE"/>
                    </a:solidFill>
                  </a:tcPr>
                </a:tc>
              </a:tr>
              <a:tr h="1416888">
                <a:tc>
                  <a:txBody>
                    <a:bodyPr/>
                    <a:lstStyle/>
                    <a:p>
                      <a:pPr rtl="1"/>
                      <a:r>
                        <a:rPr lang="en-US" sz="1800" b="0" i="0" kern="1200" dirty="0" smtClean="0">
                          <a:solidFill>
                            <a:schemeClr val="dk1"/>
                          </a:solidFill>
                          <a:effectLst/>
                          <a:latin typeface="+mn-lt"/>
                          <a:ea typeface="+mn-ea"/>
                          <a:cs typeface="+mn-cs"/>
                        </a:rPr>
                        <a:t>Life-style </a:t>
                      </a:r>
                      <a:r>
                        <a:rPr lang="en-US" sz="1800" b="0" i="0" kern="1200" dirty="0" err="1" smtClean="0">
                          <a:solidFill>
                            <a:schemeClr val="dk1"/>
                          </a:solidFill>
                          <a:effectLst/>
                          <a:latin typeface="+mn-lt"/>
                          <a:ea typeface="+mn-ea"/>
                          <a:cs typeface="+mn-cs"/>
                        </a:rPr>
                        <a:t>behaviour</a:t>
                      </a:r>
                      <a:r>
                        <a:rPr lang="en-US" sz="1800" b="0" i="0" kern="1200" dirty="0" smtClean="0">
                          <a:solidFill>
                            <a:schemeClr val="dk1"/>
                          </a:solidFill>
                          <a:effectLst/>
                          <a:latin typeface="+mn-lt"/>
                          <a:ea typeface="+mn-ea"/>
                          <a:cs typeface="+mn-cs"/>
                        </a:rPr>
                        <a:t>, well-balanced diet, physical activity, smoking cessation, moderate alcohol consumption, appropriate use of medications</a:t>
                      </a:r>
                      <a:endParaRPr lang="en-US" sz="1800" dirty="0" smtClean="0"/>
                    </a:p>
                  </a:txBody>
                  <a:tcPr>
                    <a:solidFill>
                      <a:srgbClr val="7FF1FD"/>
                    </a:solidFill>
                  </a:tcPr>
                </a:tc>
                <a:tc>
                  <a:txBody>
                    <a:bodyPr/>
                    <a:lstStyle/>
                    <a:p>
                      <a:pPr rtl="1"/>
                      <a:r>
                        <a:rPr lang="en-US" sz="1800" b="0" i="0" kern="1200" dirty="0" err="1" smtClean="0">
                          <a:solidFill>
                            <a:schemeClr val="dk1"/>
                          </a:solidFill>
                          <a:effectLst/>
                          <a:latin typeface="+mn-lt"/>
                          <a:ea typeface="+mn-ea"/>
                          <a:cs typeface="+mn-cs"/>
                        </a:rPr>
                        <a:t>Behavioural</a:t>
                      </a:r>
                      <a:r>
                        <a:rPr lang="en-US" sz="1800" b="0" i="0" kern="1200" dirty="0" smtClean="0">
                          <a:solidFill>
                            <a:schemeClr val="dk1"/>
                          </a:solidFill>
                          <a:effectLst/>
                          <a:latin typeface="+mn-lt"/>
                          <a:ea typeface="+mn-ea"/>
                          <a:cs typeface="+mn-cs"/>
                        </a:rPr>
                        <a:t> determinants</a:t>
                      </a:r>
                      <a:endParaRPr lang="en-US" sz="1800" dirty="0" smtClean="0"/>
                    </a:p>
                  </a:txBody>
                  <a:tcPr>
                    <a:solidFill>
                      <a:srgbClr val="7FF1FD"/>
                    </a:solidFill>
                  </a:tcPr>
                </a:tc>
              </a:tr>
            </a:tbl>
          </a:graphicData>
        </a:graphic>
      </p:graphicFrame>
    </p:spTree>
    <p:extLst>
      <p:ext uri="{BB962C8B-B14F-4D97-AF65-F5344CB8AC3E}">
        <p14:creationId xmlns:p14="http://schemas.microsoft.com/office/powerpoint/2010/main" val="30721377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Immuniza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COVID-19</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Seasonal Flu (Influenza)</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Pneumonia (pneumococcal)</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Tetanus, diphtheria, pertussis (</a:t>
            </a:r>
            <a:r>
              <a:rPr lang="en-US" sz="2400" b="1" dirty="0" err="1">
                <a:solidFill>
                  <a:schemeClr val="tx1"/>
                </a:solidFill>
                <a:latin typeface="Calibri Light" panose="020F0302020204030204" pitchFamily="34" charset="0"/>
                <a:cs typeface="TheSans" panose="020B0503040302020203" pitchFamily="34" charset="-78"/>
              </a:rPr>
              <a:t>Tdap</a:t>
            </a:r>
            <a:r>
              <a:rPr lang="en-US" sz="2400" b="1" dirty="0">
                <a:solidFill>
                  <a:schemeClr val="tx1"/>
                </a:solidFill>
                <a:latin typeface="Calibri Light" panose="020F0302020204030204" pitchFamily="34" charset="0"/>
                <a:cs typeface="TheSans" panose="020B0503040302020203" pitchFamily="34" charset="-78"/>
              </a:rPr>
              <a:t> or Td)</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Shingles (Zoster</a:t>
            </a:r>
            <a:r>
              <a:rPr lang="en-US" sz="2400" b="1" dirty="0" smtClean="0">
                <a:solidFill>
                  <a:schemeClr val="tx1"/>
                </a:solidFill>
                <a:latin typeface="Calibri Light" panose="020F0302020204030204" pitchFamily="34" charset="0"/>
                <a:cs typeface="TheSans" panose="020B0503040302020203" pitchFamily="34" charset="-78"/>
              </a:rPr>
              <a:t>)</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Others </a:t>
            </a:r>
            <a:endParaRPr lang="en-US" sz="2400" b="1" dirty="0">
              <a:solidFill>
                <a:schemeClr val="tx1"/>
              </a:solidFill>
              <a:latin typeface="Calibri Light" panose="020F0302020204030204" pitchFamily="34" charset="0"/>
              <a:cs typeface="TheSans" panose="020B0503040302020203" pitchFamily="34" charset="-78"/>
            </a:endParaRPr>
          </a:p>
        </p:txBody>
      </p:sp>
    </p:spTree>
    <p:extLst>
      <p:ext uri="{BB962C8B-B14F-4D97-AF65-F5344CB8AC3E}">
        <p14:creationId xmlns:p14="http://schemas.microsoft.com/office/powerpoint/2010/main" val="11230328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omains </a:t>
            </a:r>
            <a:r>
              <a:rPr lang="en-US" sz="3200" b="1" dirty="0">
                <a:latin typeface="DIN Next LT Arabic Medium" panose="020B0603020203050203" pitchFamily="34" charset="-78"/>
                <a:cs typeface="DIN Next LT Arabic Medium" panose="020B0603020203050203" pitchFamily="34" charset="-78"/>
              </a:rPr>
              <a:t>where the health sector </a:t>
            </a:r>
            <a:r>
              <a:rPr lang="en-US" sz="3200" b="1" dirty="0" smtClean="0">
                <a:latin typeface="DIN Next LT Arabic Medium" panose="020B0603020203050203" pitchFamily="34" charset="-78"/>
                <a:cs typeface="DIN Next LT Arabic Medium" panose="020B0603020203050203" pitchFamily="34" charset="-78"/>
              </a:rPr>
              <a:t>can promote </a:t>
            </a:r>
            <a:r>
              <a:rPr lang="en-US" sz="3200" b="1" dirty="0">
                <a:latin typeface="DIN Next LT Arabic Medium" panose="020B0603020203050203" pitchFamily="34" charset="-78"/>
                <a:cs typeface="DIN Next LT Arabic Medium" panose="020B0603020203050203" pitchFamily="34" charset="-78"/>
              </a:rPr>
              <a:t>good health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Better </a:t>
            </a:r>
            <a:r>
              <a:rPr lang="en-US" sz="2400" dirty="0">
                <a:solidFill>
                  <a:schemeClr val="tx1"/>
                </a:solidFill>
                <a:latin typeface="Calibri Light" panose="020F0302020204030204" pitchFamily="34" charset="0"/>
                <a:cs typeface="TheSans" panose="020B0503040302020203" pitchFamily="34" charset="-78"/>
              </a:rPr>
              <a:t>prescription and adherence to medical plans for older </a:t>
            </a:r>
            <a:r>
              <a:rPr lang="en-US" sz="2400" dirty="0" smtClean="0">
                <a:solidFill>
                  <a:schemeClr val="tx1"/>
                </a:solidFill>
                <a:latin typeface="Calibri Light" panose="020F0302020204030204" pitchFamily="34" charset="0"/>
                <a:cs typeface="TheSans" panose="020B0503040302020203" pitchFamily="34" charset="-78"/>
              </a:rPr>
              <a:t>patients</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Personalized </a:t>
            </a:r>
            <a:r>
              <a:rPr lang="en-US" sz="2400" dirty="0">
                <a:solidFill>
                  <a:schemeClr val="tx1"/>
                </a:solidFill>
                <a:latin typeface="Calibri Light" panose="020F0302020204030204" pitchFamily="34" charset="0"/>
                <a:cs typeface="TheSans" panose="020B0503040302020203" pitchFamily="34" charset="-78"/>
              </a:rPr>
              <a:t>health management, starting with a Falls Prevention </a:t>
            </a:r>
            <a:r>
              <a:rPr lang="en-US" sz="2400" dirty="0" smtClean="0">
                <a:solidFill>
                  <a:schemeClr val="tx1"/>
                </a:solidFill>
                <a:latin typeface="Calibri Light" panose="020F0302020204030204" pitchFamily="34" charset="0"/>
                <a:cs typeface="TheSans" panose="020B0503040302020203" pitchFamily="34" charset="-78"/>
              </a:rPr>
              <a:t>Initiative</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Prevention </a:t>
            </a:r>
            <a:r>
              <a:rPr lang="en-US" sz="2400" dirty="0">
                <a:solidFill>
                  <a:schemeClr val="tx1"/>
                </a:solidFill>
                <a:latin typeface="Calibri Light" panose="020F0302020204030204" pitchFamily="34" charset="0"/>
                <a:cs typeface="TheSans" panose="020B0503040302020203" pitchFamily="34" charset="-78"/>
              </a:rPr>
              <a:t>and early diagnosis of frailty and functional decline, both physical and cognitive, in older </a:t>
            </a:r>
            <a:r>
              <a:rPr lang="en-US" sz="2400" dirty="0" smtClean="0">
                <a:solidFill>
                  <a:schemeClr val="tx1"/>
                </a:solidFill>
                <a:latin typeface="Calibri Light" panose="020F0302020204030204" pitchFamily="34" charset="0"/>
                <a:cs typeface="TheSans" panose="020B0503040302020203" pitchFamily="34" charset="-78"/>
              </a:rPr>
              <a:t>people</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Replicating </a:t>
            </a:r>
            <a:r>
              <a:rPr lang="en-US" sz="2400" dirty="0">
                <a:solidFill>
                  <a:schemeClr val="tx1"/>
                </a:solidFill>
                <a:latin typeface="Calibri Light" panose="020F0302020204030204" pitchFamily="34" charset="0"/>
                <a:cs typeface="TheSans" panose="020B0503040302020203" pitchFamily="34" charset="-78"/>
              </a:rPr>
              <a:t>and tutoring integrated care for chronic diseases, including remote monitoring at regional </a:t>
            </a:r>
            <a:r>
              <a:rPr lang="en-US" sz="2400" dirty="0" smtClean="0">
                <a:solidFill>
                  <a:schemeClr val="tx1"/>
                </a:solidFill>
                <a:latin typeface="Calibri Light" panose="020F0302020204030204" pitchFamily="34" charset="0"/>
                <a:cs typeface="TheSans" panose="020B0503040302020203" pitchFamily="34" charset="-78"/>
              </a:rPr>
              <a:t>level</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Development </a:t>
            </a:r>
            <a:r>
              <a:rPr lang="en-US" sz="2400" dirty="0">
                <a:solidFill>
                  <a:schemeClr val="tx1"/>
                </a:solidFill>
                <a:latin typeface="Calibri Light" panose="020F0302020204030204" pitchFamily="34" charset="0"/>
                <a:cs typeface="TheSans" panose="020B0503040302020203" pitchFamily="34" charset="-78"/>
              </a:rPr>
              <a:t>of interoperable independent living solutions, including guidelines for business </a:t>
            </a:r>
            <a:r>
              <a:rPr lang="en-US" sz="2400" dirty="0" smtClean="0">
                <a:solidFill>
                  <a:schemeClr val="tx1"/>
                </a:solidFill>
                <a:latin typeface="Calibri Light" panose="020F0302020204030204" pitchFamily="34" charset="0"/>
                <a:cs typeface="TheSans" panose="020B0503040302020203" pitchFamily="34" charset="-78"/>
              </a:rPr>
              <a:t>models</a:t>
            </a:r>
          </a:p>
          <a:p>
            <a:pPr lvl="0" defTabSz="685800">
              <a:lnSpc>
                <a:spcPct val="90000"/>
              </a:lnSpc>
              <a:spcBef>
                <a:spcPts val="750"/>
              </a:spcBef>
            </a:pPr>
            <a:r>
              <a:rPr lang="en-US" sz="2400" dirty="0" smtClean="0">
                <a:solidFill>
                  <a:schemeClr val="tx1"/>
                </a:solidFill>
                <a:latin typeface="Calibri Light" panose="020F0302020204030204" pitchFamily="34" charset="0"/>
                <a:cs typeface="TheSans" panose="020B0503040302020203" pitchFamily="34" charset="-78"/>
              </a:rPr>
              <a:t>Social </a:t>
            </a:r>
            <a:r>
              <a:rPr lang="en-US" sz="2400" dirty="0">
                <a:solidFill>
                  <a:schemeClr val="tx1"/>
                </a:solidFill>
                <a:latin typeface="Calibri Light" panose="020F0302020204030204" pitchFamily="34" charset="0"/>
                <a:cs typeface="TheSans" panose="020B0503040302020203" pitchFamily="34" charset="-78"/>
              </a:rPr>
              <a:t>Innovation for age-friendly buildings, cities and environment</a:t>
            </a:r>
          </a:p>
        </p:txBody>
      </p:sp>
    </p:spTree>
    <p:extLst>
      <p:ext uri="{BB962C8B-B14F-4D97-AF65-F5344CB8AC3E}">
        <p14:creationId xmlns:p14="http://schemas.microsoft.com/office/powerpoint/2010/main" val="4540492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Picture Placeholder 2"/>
          <p:cNvSpPr>
            <a:spLocks noGrp="1"/>
          </p:cNvSpPr>
          <p:nvPr>
            <p:ph type="pic" sz="quarter" idx="11"/>
          </p:nvPr>
        </p:nvSpPr>
        <p:spPr/>
      </p:sp>
      <p:pic>
        <p:nvPicPr>
          <p:cNvPr id="4" name="Picture 3"/>
          <p:cNvPicPr>
            <a:picLocks noChangeAspect="1"/>
          </p:cNvPicPr>
          <p:nvPr/>
        </p:nvPicPr>
        <p:blipFill>
          <a:blip r:embed="rId2"/>
          <a:stretch>
            <a:fillRect/>
          </a:stretch>
        </p:blipFill>
        <p:spPr>
          <a:xfrm>
            <a:off x="0" y="-1424341"/>
            <a:ext cx="12192000" cy="9144001"/>
          </a:xfrm>
          <a:prstGeom prst="rect">
            <a:avLst/>
          </a:prstGeom>
        </p:spPr>
      </p:pic>
    </p:spTree>
    <p:extLst>
      <p:ext uri="{BB962C8B-B14F-4D97-AF65-F5344CB8AC3E}">
        <p14:creationId xmlns:p14="http://schemas.microsoft.com/office/powerpoint/2010/main" val="3034652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stone building with a blue sky&#10;&#10;Description automatically generated">
            <a:extLst>
              <a:ext uri="{FF2B5EF4-FFF2-40B4-BE49-F238E27FC236}">
                <a16:creationId xmlns="" xmlns:a16="http://schemas.microsoft.com/office/drawing/2014/main" id="{9108245F-C523-7FEC-E7AB-EF61C8849A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925"/>
            <a:ext cx="12254730" cy="6823075"/>
          </a:xfrm>
          <a:prstGeom prst="rect">
            <a:avLst/>
          </a:prstGeom>
        </p:spPr>
      </p:pic>
      <p:sp>
        <p:nvSpPr>
          <p:cNvPr id="47" name="Freeform: Shape 46">
            <a:extLst>
              <a:ext uri="{FF2B5EF4-FFF2-40B4-BE49-F238E27FC236}">
                <a16:creationId xmlns="" xmlns:a16="http://schemas.microsoft.com/office/drawing/2014/main" id="{668C763E-D2E4-4EB8-95B4-6D72B23317FC}"/>
              </a:ext>
            </a:extLst>
          </p:cNvPr>
          <p:cNvSpPr/>
          <p:nvPr/>
        </p:nvSpPr>
        <p:spPr>
          <a:xfrm>
            <a:off x="0" y="0"/>
            <a:ext cx="5503985" cy="6065520"/>
          </a:xfrm>
          <a:custGeom>
            <a:avLst/>
            <a:gdLst>
              <a:gd name="connsiteX0" fmla="*/ 0 w 7526331"/>
              <a:gd name="connsiteY0" fmla="*/ 0 h 5727322"/>
              <a:gd name="connsiteX1" fmla="*/ 7522287 w 7526331"/>
              <a:gd name="connsiteY1" fmla="*/ 0 h 5727322"/>
              <a:gd name="connsiteX2" fmla="*/ 7526331 w 7526331"/>
              <a:gd name="connsiteY2" fmla="*/ 117692 h 5727322"/>
              <a:gd name="connsiteX3" fmla="*/ 7526331 w 7526331"/>
              <a:gd name="connsiteY3" fmla="*/ 3773338 h 5727322"/>
              <a:gd name="connsiteX4" fmla="*/ 5754635 w 7526331"/>
              <a:gd name="connsiteY4" fmla="*/ 5727322 h 5727322"/>
              <a:gd name="connsiteX5" fmla="*/ 0 w 7526331"/>
              <a:gd name="connsiteY5" fmla="*/ 5727322 h 5727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6331" h="5727322">
                <a:moveTo>
                  <a:pt x="0" y="0"/>
                </a:moveTo>
                <a:lnTo>
                  <a:pt x="7522287" y="0"/>
                </a:lnTo>
                <a:lnTo>
                  <a:pt x="7526331" y="117692"/>
                </a:lnTo>
                <a:lnTo>
                  <a:pt x="7526331" y="3773338"/>
                </a:lnTo>
                <a:cubicBezTo>
                  <a:pt x="7526331" y="4852494"/>
                  <a:pt x="6733116" y="5727322"/>
                  <a:pt x="5754635" y="5727322"/>
                </a:cubicBezTo>
                <a:lnTo>
                  <a:pt x="0" y="5727322"/>
                </a:lnTo>
                <a:close/>
              </a:path>
            </a:pathLst>
          </a:custGeom>
          <a:gradFill flip="none" rotWithShape="1">
            <a:gsLst>
              <a:gs pos="70000">
                <a:srgbClr val="2B9ED2">
                  <a:alpha val="87000"/>
                </a:srgbClr>
              </a:gs>
              <a:gs pos="0">
                <a:srgbClr val="31C9A2">
                  <a:alpha val="96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 xmlns:a16="http://schemas.microsoft.com/office/drawing/2014/main" id="{04A0B84B-47BB-CCDC-55A0-329EA44CEE37}"/>
              </a:ext>
            </a:extLst>
          </p:cNvPr>
          <p:cNvPicPr>
            <a:picLocks noChangeAspect="1"/>
          </p:cNvPicPr>
          <p:nvPr/>
        </p:nvPicPr>
        <p:blipFill rotWithShape="1">
          <a:blip r:embed="rId4"/>
          <a:srcRect b="14359"/>
          <a:stretch/>
        </p:blipFill>
        <p:spPr>
          <a:xfrm>
            <a:off x="1121565" y="1130678"/>
            <a:ext cx="2641600" cy="2577722"/>
          </a:xfrm>
          <a:prstGeom prst="rect">
            <a:avLst/>
          </a:prstGeom>
        </p:spPr>
      </p:pic>
      <p:sp>
        <p:nvSpPr>
          <p:cNvPr id="5" name="TextBox 4">
            <a:extLst>
              <a:ext uri="{FF2B5EF4-FFF2-40B4-BE49-F238E27FC236}">
                <a16:creationId xmlns="" xmlns:a16="http://schemas.microsoft.com/office/drawing/2014/main" id="{230036AE-74C9-1EC2-C2B2-A67ACA9E273C}"/>
              </a:ext>
            </a:extLst>
          </p:cNvPr>
          <p:cNvSpPr txBox="1"/>
          <p:nvPr/>
        </p:nvSpPr>
        <p:spPr>
          <a:xfrm>
            <a:off x="4650020" y="-257972"/>
            <a:ext cx="458311" cy="4078039"/>
          </a:xfrm>
          <a:prstGeom prst="rect">
            <a:avLst/>
          </a:prstGeom>
          <a:noFill/>
        </p:spPr>
        <p:txBody>
          <a:bodyPr wrap="square" rtlCol="0">
            <a:spAutoFit/>
          </a:bodyPr>
          <a:lstStyle/>
          <a:p>
            <a:pPr algn="ctr" rtl="1"/>
            <a:r>
              <a:rPr lang="en-US" sz="25900" dirty="0">
                <a:solidFill>
                  <a:schemeClr val="bg1">
                    <a:lumMod val="95000"/>
                  </a:schemeClr>
                </a:solidFill>
                <a:latin typeface="Raleway SemiBold" panose="020B0703030101060003" pitchFamily="34" charset="0"/>
                <a:cs typeface="Poppins SemiBold" panose="00000700000000000000" pitchFamily="2" charset="0"/>
              </a:rPr>
              <a:t>“</a:t>
            </a:r>
          </a:p>
        </p:txBody>
      </p:sp>
      <p:pic>
        <p:nvPicPr>
          <p:cNvPr id="2" name="Picture 1">
            <a:extLst>
              <a:ext uri="{FF2B5EF4-FFF2-40B4-BE49-F238E27FC236}">
                <a16:creationId xmlns="" xmlns:a16="http://schemas.microsoft.com/office/drawing/2014/main" id="{C1FDF151-3D12-295E-EDFD-5E07D0EB0B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3481" y="247650"/>
            <a:ext cx="1257300" cy="762000"/>
          </a:xfrm>
          <a:prstGeom prst="rect">
            <a:avLst/>
          </a:prstGeom>
        </p:spPr>
      </p:pic>
      <p:sp>
        <p:nvSpPr>
          <p:cNvPr id="23" name="TextBox 22">
            <a:extLst>
              <a:ext uri="{FF2B5EF4-FFF2-40B4-BE49-F238E27FC236}">
                <a16:creationId xmlns="" xmlns:a16="http://schemas.microsoft.com/office/drawing/2014/main" id="{FD8B3B9F-A944-5FD0-28C5-FD47357F1B76}"/>
              </a:ext>
            </a:extLst>
          </p:cNvPr>
          <p:cNvSpPr txBox="1"/>
          <p:nvPr/>
        </p:nvSpPr>
        <p:spPr>
          <a:xfrm>
            <a:off x="1016000" y="3966372"/>
            <a:ext cx="2527032" cy="584775"/>
          </a:xfrm>
          <a:prstGeom prst="rect">
            <a:avLst/>
          </a:prstGeom>
          <a:noFill/>
        </p:spPr>
        <p:txBody>
          <a:bodyPr wrap="square" rtlCol="0">
            <a:spAutoFit/>
          </a:bodyPr>
          <a:lstStyle/>
          <a:p>
            <a:r>
              <a:rPr lang="x-none" sz="3200" b="1" dirty="0">
                <a:solidFill>
                  <a:schemeClr val="bg1"/>
                </a:solidFill>
                <a:latin typeface="Avenir Black" panose="02000503020000020003" pitchFamily="2" charset="0"/>
              </a:rPr>
              <a:t>920011909</a:t>
            </a:r>
          </a:p>
        </p:txBody>
      </p:sp>
    </p:spTree>
    <p:extLst>
      <p:ext uri="{BB962C8B-B14F-4D97-AF65-F5344CB8AC3E}">
        <p14:creationId xmlns:p14="http://schemas.microsoft.com/office/powerpoint/2010/main" val="26264091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727CA3"/>
              </a:buClr>
              <a:buSzPct val="76000"/>
              <a:buFont typeface="Wingdings 3"/>
              <a:buChar char=""/>
            </a:pPr>
            <a:r>
              <a:rPr lang="en-US" sz="2400" dirty="0">
                <a:solidFill>
                  <a:prstClr val="black"/>
                </a:solidFill>
                <a:latin typeface="Gill Sans MT"/>
              </a:rPr>
              <a:t>Aging</a:t>
            </a:r>
          </a:p>
          <a:p>
            <a:pPr marL="274320" lvl="0" indent="-274320" algn="just">
              <a:spcBef>
                <a:spcPts val="600"/>
              </a:spcBef>
              <a:buClr>
                <a:srgbClr val="727CA3"/>
              </a:buClr>
              <a:buSzPct val="76000"/>
              <a:buFont typeface="Wingdings" pitchFamily="2" charset="2"/>
              <a:buChar char="Ø"/>
            </a:pPr>
            <a:r>
              <a:rPr lang="en-US" sz="2400" dirty="0">
                <a:solidFill>
                  <a:prstClr val="black"/>
                </a:solidFill>
                <a:latin typeface="+mj-lt"/>
              </a:rPr>
              <a:t>The gradual deterioration of a mature organism resulting from time-dependent, irreversible changes in structure that are intrinsic to the particular species, and that eventually lead to decreased ability to cope with the stresses of the environment thereby increasing the probability of death </a:t>
            </a:r>
          </a:p>
          <a:p>
            <a:pPr marL="274320" lvl="0" indent="-274320" algn="r" rtl="1">
              <a:spcBef>
                <a:spcPts val="600"/>
              </a:spcBef>
              <a:buClr>
                <a:srgbClr val="727CA3"/>
              </a:buClr>
              <a:buSzPct val="76000"/>
            </a:pPr>
            <a:r>
              <a:rPr lang="en-US" sz="1400" dirty="0">
                <a:solidFill>
                  <a:prstClr val="black"/>
                </a:solidFill>
                <a:latin typeface="Gill Sans MT"/>
              </a:rPr>
              <a:t>(Stedman’s Med Dictionary 2000) </a:t>
            </a:r>
          </a:p>
          <a:p>
            <a:pPr marL="274320" lvl="0" indent="-274320">
              <a:spcBef>
                <a:spcPts val="600"/>
              </a:spcBef>
              <a:buClr>
                <a:srgbClr val="727CA3"/>
              </a:buClr>
              <a:buSzPct val="76000"/>
            </a:pPr>
            <a:endParaRPr lang="en-US" sz="2400" dirty="0">
              <a:solidFill>
                <a:prstClr val="black"/>
              </a:solidFill>
              <a:latin typeface="Gill Sans MT"/>
            </a:endParaRPr>
          </a:p>
          <a:p>
            <a:pPr marL="274320" lvl="0" indent="-274320" algn="just">
              <a:spcBef>
                <a:spcPts val="600"/>
              </a:spcBef>
              <a:buClr>
                <a:srgbClr val="727CA3"/>
              </a:buClr>
              <a:buSzPct val="76000"/>
              <a:buFont typeface="Wingdings" pitchFamily="2" charset="2"/>
              <a:buChar char="Ø"/>
            </a:pPr>
            <a:r>
              <a:rPr lang="en-US" sz="2400" dirty="0">
                <a:solidFill>
                  <a:prstClr val="black"/>
                </a:solidFill>
                <a:latin typeface="+mj-lt"/>
              </a:rPr>
              <a:t>Is a process that converts healthy adults into frail ones with diminished reserves in most physiologic systems and exponentially increasing vulnerability to most diseases and to death</a:t>
            </a:r>
          </a:p>
          <a:p>
            <a:pPr marL="274320" lvl="0" indent="-274320" algn="r" rtl="1">
              <a:spcBef>
                <a:spcPts val="600"/>
              </a:spcBef>
              <a:buClr>
                <a:srgbClr val="727CA3"/>
              </a:buClr>
              <a:buSzPct val="76000"/>
            </a:pPr>
            <a:endParaRPr lang="en-US" sz="1300" dirty="0">
              <a:solidFill>
                <a:prstClr val="black"/>
              </a:solidFill>
              <a:latin typeface="Gill Sans MT"/>
            </a:endParaRPr>
          </a:p>
          <a:p>
            <a:pPr marL="274320" lvl="0" indent="-274320" algn="r" rtl="1">
              <a:spcBef>
                <a:spcPts val="600"/>
              </a:spcBef>
              <a:buClr>
                <a:srgbClr val="727CA3"/>
              </a:buClr>
              <a:buSzPct val="76000"/>
            </a:pPr>
            <a:r>
              <a:rPr lang="en-US" sz="1300" dirty="0">
                <a:solidFill>
                  <a:prstClr val="black"/>
                </a:solidFill>
                <a:latin typeface="Gill Sans MT"/>
              </a:rPr>
              <a:t>(W. </a:t>
            </a:r>
            <a:r>
              <a:rPr lang="en-US" sz="1300" dirty="0" err="1">
                <a:solidFill>
                  <a:prstClr val="black"/>
                </a:solidFill>
                <a:latin typeface="Gill Sans MT"/>
              </a:rPr>
              <a:t>Hazzard</a:t>
            </a:r>
            <a:r>
              <a:rPr lang="en-US" sz="1300" dirty="0">
                <a:solidFill>
                  <a:prstClr val="black"/>
                </a:solidFill>
                <a:latin typeface="Gill Sans MT"/>
              </a:rPr>
              <a:t>, Principles of Geriatric Medicine &amp; Gerontology 2003) </a:t>
            </a:r>
          </a:p>
        </p:txBody>
      </p:sp>
    </p:spTree>
    <p:extLst>
      <p:ext uri="{BB962C8B-B14F-4D97-AF65-F5344CB8AC3E}">
        <p14:creationId xmlns:p14="http://schemas.microsoft.com/office/powerpoint/2010/main" val="2470169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727CA3"/>
              </a:buClr>
              <a:buSzPct val="76000"/>
              <a:buFont typeface="Wingdings 3"/>
              <a:buChar char=""/>
            </a:pPr>
            <a:r>
              <a:rPr lang="en-US" sz="2800" dirty="0" smtClean="0">
                <a:solidFill>
                  <a:prstClr val="black"/>
                </a:solidFill>
                <a:latin typeface="Gill Sans MT"/>
              </a:rPr>
              <a:t>Elderly</a:t>
            </a:r>
            <a:r>
              <a:rPr lang="en-US" sz="2400" dirty="0" smtClean="0">
                <a:solidFill>
                  <a:prstClr val="black"/>
                </a:solidFill>
                <a:latin typeface="Gill Sans MT"/>
              </a:rPr>
              <a:t> </a:t>
            </a:r>
          </a:p>
          <a:p>
            <a:pPr marL="274320" lvl="0" indent="-274320">
              <a:spcBef>
                <a:spcPts val="600"/>
              </a:spcBef>
              <a:buClr>
                <a:srgbClr val="727CA3"/>
              </a:buClr>
              <a:buSzPct val="76000"/>
              <a:buFont typeface="Wingdings 3"/>
              <a:buChar char=""/>
            </a:pPr>
            <a:endParaRPr lang="en-US" sz="2400" dirty="0">
              <a:solidFill>
                <a:prstClr val="black"/>
              </a:solidFill>
              <a:latin typeface="Gill Sans MT"/>
            </a:endParaRPr>
          </a:p>
          <a:p>
            <a:pPr marL="342900" lvl="0" indent="-342900">
              <a:spcBef>
                <a:spcPts val="600"/>
              </a:spcBef>
              <a:buClr>
                <a:srgbClr val="727CA3"/>
              </a:buClr>
              <a:buSzPct val="76000"/>
              <a:buFont typeface="Arial" panose="020B0604020202020204" pitchFamily="34" charset="0"/>
              <a:buChar char="•"/>
            </a:pPr>
            <a:r>
              <a:rPr lang="en-US" sz="2400" dirty="0" smtClean="0">
                <a:solidFill>
                  <a:prstClr val="black"/>
                </a:solidFill>
                <a:latin typeface="Gill Sans MT"/>
              </a:rPr>
              <a:t>WHO</a:t>
            </a:r>
          </a:p>
          <a:p>
            <a:pPr marL="342900" lvl="0" indent="-342900">
              <a:spcBef>
                <a:spcPts val="600"/>
              </a:spcBef>
              <a:buClr>
                <a:srgbClr val="727CA3"/>
              </a:buClr>
              <a:buSzPct val="76000"/>
              <a:buFont typeface="Arial" panose="020B0604020202020204" pitchFamily="34" charset="0"/>
              <a:buChar char="•"/>
            </a:pPr>
            <a:r>
              <a:rPr lang="en-US" sz="2400" dirty="0" smtClean="0">
                <a:solidFill>
                  <a:prstClr val="black"/>
                </a:solidFill>
                <a:latin typeface="Gill Sans MT"/>
              </a:rPr>
              <a:t>UN</a:t>
            </a:r>
          </a:p>
          <a:p>
            <a:pPr marL="342900" lvl="0" indent="-342900">
              <a:spcBef>
                <a:spcPts val="600"/>
              </a:spcBef>
              <a:buClr>
                <a:srgbClr val="727CA3"/>
              </a:buClr>
              <a:buSzPct val="76000"/>
              <a:buFont typeface="Arial" panose="020B0604020202020204" pitchFamily="34" charset="0"/>
              <a:buChar char="•"/>
            </a:pPr>
            <a:r>
              <a:rPr lang="en-US" sz="2400" dirty="0" smtClean="0">
                <a:solidFill>
                  <a:prstClr val="black"/>
                </a:solidFill>
                <a:latin typeface="Gill Sans MT"/>
              </a:rPr>
              <a:t>Saudi Arabia</a:t>
            </a:r>
            <a:r>
              <a:rPr lang="en-US" sz="1300" dirty="0" smtClean="0">
                <a:solidFill>
                  <a:prstClr val="black"/>
                </a:solidFill>
                <a:latin typeface="Gill Sans MT"/>
              </a:rPr>
              <a:t> </a:t>
            </a:r>
            <a:endParaRPr lang="en-US" sz="1300" dirty="0">
              <a:solidFill>
                <a:prstClr val="black"/>
              </a:solidFill>
              <a:latin typeface="Gill Sans MT"/>
            </a:endParaRPr>
          </a:p>
        </p:txBody>
      </p:sp>
    </p:spTree>
    <p:extLst>
      <p:ext uri="{BB962C8B-B14F-4D97-AF65-F5344CB8AC3E}">
        <p14:creationId xmlns:p14="http://schemas.microsoft.com/office/powerpoint/2010/main" val="17088897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727CA3"/>
              </a:buClr>
              <a:buSzPct val="76000"/>
              <a:buFont typeface="Wingdings 3"/>
              <a:buChar char=""/>
            </a:pPr>
            <a:r>
              <a:rPr lang="en-US" sz="2400" dirty="0">
                <a:solidFill>
                  <a:prstClr val="black"/>
                </a:solidFill>
                <a:latin typeface="Gill Sans MT"/>
              </a:rPr>
              <a:t>Aging</a:t>
            </a:r>
          </a:p>
          <a:p>
            <a:pPr marL="274320" lvl="0" indent="-274320" algn="just">
              <a:spcBef>
                <a:spcPts val="600"/>
              </a:spcBef>
              <a:buClr>
                <a:srgbClr val="727CA3"/>
              </a:buClr>
              <a:buSzPct val="76000"/>
              <a:buFont typeface="Wingdings" pitchFamily="2" charset="2"/>
              <a:buChar char="Ø"/>
            </a:pPr>
            <a:r>
              <a:rPr lang="en-US" sz="2400" dirty="0">
                <a:solidFill>
                  <a:prstClr val="black"/>
                </a:solidFill>
                <a:latin typeface="Gill Sans MT"/>
              </a:rPr>
              <a:t>The gradual</a:t>
            </a:r>
            <a:r>
              <a:rPr lang="en-US" sz="2600" dirty="0">
                <a:solidFill>
                  <a:prstClr val="black"/>
                </a:solidFill>
                <a:latin typeface="Gill Sans MT"/>
              </a:rPr>
              <a:t> </a:t>
            </a:r>
            <a:r>
              <a:rPr lang="en-US" sz="2400" dirty="0">
                <a:solidFill>
                  <a:prstClr val="black"/>
                </a:solidFill>
                <a:latin typeface="Gill Sans MT"/>
              </a:rPr>
              <a:t>deterioration of a mature organism resulting from time-dependent, irreversible changes in structure that are intrinsic to the particular species, and that eventually lead to decreased ability to cope with the stresses of the environment thereby increasing the probability of death </a:t>
            </a:r>
          </a:p>
          <a:p>
            <a:pPr marL="274320" lvl="0" indent="-274320" algn="r" rtl="1">
              <a:spcBef>
                <a:spcPts val="600"/>
              </a:spcBef>
              <a:buClr>
                <a:srgbClr val="727CA3"/>
              </a:buClr>
              <a:buSzPct val="76000"/>
            </a:pPr>
            <a:r>
              <a:rPr lang="en-US" sz="1400" dirty="0">
                <a:solidFill>
                  <a:prstClr val="black"/>
                </a:solidFill>
                <a:latin typeface="Gill Sans MT"/>
              </a:rPr>
              <a:t>(Stedman’s Med Dictionary 2000) </a:t>
            </a:r>
          </a:p>
          <a:p>
            <a:pPr marL="274320" lvl="0" indent="-274320">
              <a:spcBef>
                <a:spcPts val="600"/>
              </a:spcBef>
              <a:buClr>
                <a:srgbClr val="727CA3"/>
              </a:buClr>
              <a:buSzPct val="76000"/>
            </a:pPr>
            <a:endParaRPr lang="en-US" sz="2400" dirty="0">
              <a:solidFill>
                <a:prstClr val="black"/>
              </a:solidFill>
              <a:latin typeface="Gill Sans MT"/>
            </a:endParaRPr>
          </a:p>
          <a:p>
            <a:pPr marL="274320" lvl="0" indent="-274320" algn="just">
              <a:spcBef>
                <a:spcPts val="600"/>
              </a:spcBef>
              <a:buClr>
                <a:srgbClr val="727CA3"/>
              </a:buClr>
              <a:buSzPct val="76000"/>
              <a:buFont typeface="Wingdings" pitchFamily="2" charset="2"/>
              <a:buChar char="Ø"/>
            </a:pPr>
            <a:r>
              <a:rPr lang="en-US" sz="2600" dirty="0">
                <a:solidFill>
                  <a:prstClr val="black"/>
                </a:solidFill>
                <a:latin typeface="Gill Sans MT"/>
              </a:rPr>
              <a:t>Is a process that converts healthy adults into frail ones with diminished reserves in most physiologic systems and exponentially increasing vulnerability to most diseases and to death</a:t>
            </a:r>
          </a:p>
          <a:p>
            <a:pPr marL="274320" lvl="0" indent="-274320" algn="r" rtl="1">
              <a:spcBef>
                <a:spcPts val="600"/>
              </a:spcBef>
              <a:buClr>
                <a:srgbClr val="727CA3"/>
              </a:buClr>
              <a:buSzPct val="76000"/>
            </a:pPr>
            <a:endParaRPr lang="en-US" sz="1300" dirty="0">
              <a:solidFill>
                <a:prstClr val="black"/>
              </a:solidFill>
              <a:latin typeface="Gill Sans MT"/>
            </a:endParaRPr>
          </a:p>
          <a:p>
            <a:pPr marL="274320" lvl="0" indent="-274320" algn="r" rtl="1">
              <a:spcBef>
                <a:spcPts val="600"/>
              </a:spcBef>
              <a:buClr>
                <a:srgbClr val="727CA3"/>
              </a:buClr>
              <a:buSzPct val="76000"/>
            </a:pPr>
            <a:r>
              <a:rPr lang="en-US" sz="1300" dirty="0">
                <a:solidFill>
                  <a:prstClr val="black"/>
                </a:solidFill>
                <a:latin typeface="Gill Sans MT"/>
              </a:rPr>
              <a:t>(W. </a:t>
            </a:r>
            <a:r>
              <a:rPr lang="en-US" sz="1300" dirty="0" err="1">
                <a:solidFill>
                  <a:prstClr val="black"/>
                </a:solidFill>
                <a:latin typeface="Gill Sans MT"/>
              </a:rPr>
              <a:t>Hazzard</a:t>
            </a:r>
            <a:r>
              <a:rPr lang="en-US" sz="1300" dirty="0">
                <a:solidFill>
                  <a:prstClr val="black"/>
                </a:solidFill>
                <a:latin typeface="Gill Sans MT"/>
              </a:rPr>
              <a:t>, Principles of Geriatric Medicine &amp; Gerontology 2003) </a:t>
            </a:r>
          </a:p>
        </p:txBody>
      </p:sp>
      <p:pic>
        <p:nvPicPr>
          <p:cNvPr id="3" name="Picture 2"/>
          <p:cNvPicPr>
            <a:picLocks noChangeAspect="1"/>
          </p:cNvPicPr>
          <p:nvPr/>
        </p:nvPicPr>
        <p:blipFill>
          <a:blip r:embed="rId3"/>
          <a:stretch>
            <a:fillRect/>
          </a:stretch>
        </p:blipFill>
        <p:spPr>
          <a:xfrm>
            <a:off x="-45156" y="-825500"/>
            <a:ext cx="12649906" cy="8369300"/>
          </a:xfrm>
          <a:prstGeom prst="rect">
            <a:avLst/>
          </a:prstGeom>
        </p:spPr>
      </p:pic>
    </p:spTree>
    <p:extLst>
      <p:ext uri="{BB962C8B-B14F-4D97-AF65-F5344CB8AC3E}">
        <p14:creationId xmlns:p14="http://schemas.microsoft.com/office/powerpoint/2010/main" val="17951684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Some facts about aging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Chronologic age is not an accurate predictor of physical condition or behavior .</a:t>
            </a:r>
          </a:p>
          <a:p>
            <a:pPr lvl="0" defTabSz="685800">
              <a:lnSpc>
                <a:spcPct val="90000"/>
              </a:lnSpc>
              <a:spcBef>
                <a:spcPts val="750"/>
              </a:spcBef>
            </a:pPr>
            <a:endParaRPr lang="en-US" sz="24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Poor health in later life is not inevitable.</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The rate of physiologic decline can be modified.</a:t>
            </a:r>
          </a:p>
          <a:p>
            <a:pPr lvl="0" defTabSz="685800">
              <a:lnSpc>
                <a:spcPct val="90000"/>
              </a:lnSpc>
              <a:spcBef>
                <a:spcPts val="750"/>
              </a:spcBef>
            </a:pPr>
            <a:endParaRPr lang="en-US" sz="24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 lot of the illnesses and disabilities associated with aging is related to modifiable lifestyle factors that are present in middle age</a:t>
            </a:r>
          </a:p>
        </p:txBody>
      </p:sp>
    </p:spTree>
    <p:extLst>
      <p:ext uri="{BB962C8B-B14F-4D97-AF65-F5344CB8AC3E}">
        <p14:creationId xmlns:p14="http://schemas.microsoft.com/office/powerpoint/2010/main" val="4100539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smtClean="0">
                <a:solidFill>
                  <a:schemeClr val="tx1"/>
                </a:solidFill>
                <a:latin typeface="Calibri Light" panose="020F0302020204030204" pitchFamily="34" charset="0"/>
                <a:cs typeface="TheSans" panose="020B0503040302020203" pitchFamily="34" charset="-78"/>
              </a:rPr>
              <a:t>Cardiovascular</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Valves calcium deposits</a:t>
            </a:r>
          </a:p>
          <a:p>
            <a:pPr lvl="0" defTabSz="685800">
              <a:lnSpc>
                <a:spcPct val="90000"/>
              </a:lnSpc>
              <a:spcBef>
                <a:spcPts val="750"/>
              </a:spcBef>
            </a:pPr>
            <a:endParaRPr lang="en-US" sz="24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Pacemaker cell loss (SA node)Fibrous tissue/fat deposits</a:t>
            </a:r>
          </a:p>
          <a:p>
            <a:pPr lvl="0" defTabSz="685800">
              <a:lnSpc>
                <a:spcPct val="90000"/>
              </a:lnSpc>
              <a:spcBef>
                <a:spcPts val="750"/>
              </a:spcBef>
            </a:pPr>
            <a:endParaRPr lang="en-US" sz="24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Baroreceptors </a:t>
            </a:r>
          </a:p>
          <a:p>
            <a:pPr lvl="0" defTabSz="685800">
              <a:lnSpc>
                <a:spcPct val="90000"/>
              </a:lnSpc>
              <a:spcBef>
                <a:spcPts val="750"/>
              </a:spcBef>
            </a:pPr>
            <a:endParaRPr lang="en-US" sz="24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rteries thicken/stiffen Ventricular </a:t>
            </a:r>
            <a:r>
              <a:rPr lang="en-US" sz="2400" dirty="0" err="1">
                <a:solidFill>
                  <a:schemeClr val="tx1"/>
                </a:solidFill>
                <a:latin typeface="Calibri Light" panose="020F0302020204030204" pitchFamily="34" charset="0"/>
                <a:cs typeface="TheSans" panose="020B0503040302020203" pitchFamily="34" charset="-78"/>
              </a:rPr>
              <a:t>cardiomyocytes</a:t>
            </a:r>
            <a:r>
              <a:rPr lang="en-US" sz="2400" dirty="0">
                <a:solidFill>
                  <a:schemeClr val="tx1"/>
                </a:solidFill>
                <a:latin typeface="Calibri Light" panose="020F0302020204030204" pitchFamily="34" charset="0"/>
                <a:cs typeface="TheSans" panose="020B0503040302020203" pitchFamily="34" charset="-78"/>
              </a:rPr>
              <a:t> hypertrophy</a:t>
            </a:r>
          </a:p>
        </p:txBody>
      </p:sp>
    </p:spTree>
    <p:extLst>
      <p:ext uri="{BB962C8B-B14F-4D97-AF65-F5344CB8AC3E}">
        <p14:creationId xmlns:p14="http://schemas.microsoft.com/office/powerpoint/2010/main" val="1745135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Respiratory</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Vital capacity reduced ,FEV reduced</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Chest wall compliance reduced</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Reduced alveolar elasticity and reduced number of functional alveoli</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Cilia activity reduced </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Glandular cells reduced</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Lung macrophages less effective</a:t>
            </a:r>
          </a:p>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Cough less forceful</a:t>
            </a:r>
          </a:p>
        </p:txBody>
      </p:sp>
    </p:spTree>
    <p:extLst>
      <p:ext uri="{BB962C8B-B14F-4D97-AF65-F5344CB8AC3E}">
        <p14:creationId xmlns:p14="http://schemas.microsoft.com/office/powerpoint/2010/main" val="27365489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hysiological changes among elderl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1019232" y="3244333"/>
            <a:ext cx="1611275"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Geriatric Care</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alibri Light" panose="020F0302020204030204" pitchFamily="34" charset="0"/>
                <a:cs typeface="TheSans" panose="020B0503040302020203" pitchFamily="34" charset="-78"/>
              </a:rPr>
              <a:t>Renal </a:t>
            </a:r>
          </a:p>
          <a:p>
            <a:pPr lvl="0" defTabSz="685800">
              <a:lnSpc>
                <a:spcPct val="90000"/>
              </a:lnSpc>
              <a:spcBef>
                <a:spcPts val="750"/>
              </a:spcBef>
            </a:pPr>
            <a:endParaRPr lang="en-US" sz="24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Renal mass and size reduced</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Average Creatinine clearance is reduced 10ml/decade</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Renal tubular cells reduced, thickened tubular walls</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 Thirst is blunted</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 serum renin and aldosterone (30-50%)  </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Increased prostaglandins</a:t>
            </a:r>
          </a:p>
          <a:p>
            <a:pPr lvl="0" defTabSz="685800">
              <a:lnSpc>
                <a:spcPct val="90000"/>
              </a:lnSpc>
              <a:spcBef>
                <a:spcPts val="750"/>
              </a:spcBef>
            </a:pPr>
            <a:r>
              <a:rPr lang="en-US" sz="2400" dirty="0">
                <a:solidFill>
                  <a:schemeClr val="tx1"/>
                </a:solidFill>
                <a:latin typeface="Calibri Light" panose="020F0302020204030204" pitchFamily="34" charset="0"/>
                <a:cs typeface="TheSans" panose="020B0503040302020203" pitchFamily="34" charset="-78"/>
              </a:rPr>
              <a:t>Reduction of urine acidification and impairment in excreting </a:t>
            </a:r>
          </a:p>
        </p:txBody>
      </p:sp>
    </p:spTree>
    <p:extLst>
      <p:ext uri="{BB962C8B-B14F-4D97-AF65-F5344CB8AC3E}">
        <p14:creationId xmlns:p14="http://schemas.microsoft.com/office/powerpoint/2010/main" val="12711899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8iHTo7aPUiiY4A0xxPi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wO0.3sNbUm.w3ASfApH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H (EN)">
  <a:themeElements>
    <a:clrScheme name="MoH1">
      <a:dk1>
        <a:srgbClr val="2A2A2C"/>
      </a:dk1>
      <a:lt1>
        <a:sysClr val="window" lastClr="FFFFFF"/>
      </a:lt1>
      <a:dk2>
        <a:srgbClr val="171616"/>
      </a:dk2>
      <a:lt2>
        <a:srgbClr val="E7E6E6"/>
      </a:lt2>
      <a:accent1>
        <a:srgbClr val="008755"/>
      </a:accent1>
      <a:accent2>
        <a:srgbClr val="66B799"/>
      </a:accent2>
      <a:accent3>
        <a:srgbClr val="C3BF9F"/>
      </a:accent3>
      <a:accent4>
        <a:srgbClr val="FFC000"/>
      </a:accent4>
      <a:accent5>
        <a:srgbClr val="C00000"/>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HC-TBC Weekly Report Template_210801_v03" id="{7D31A2EA-9C13-4959-92B0-05946732E8D1}" vid="{3BCCAECB-7B89-446D-8AAC-AC2E289697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55</TotalTime>
  <Words>870</Words>
  <Application>Microsoft Office PowerPoint</Application>
  <PresentationFormat>Widescreen</PresentationFormat>
  <Paragraphs>202</Paragraphs>
  <Slides>20</Slides>
  <Notes>18</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9" baseType="lpstr">
      <vt:lpstr>Arial</vt:lpstr>
      <vt:lpstr>Avenir Black</vt:lpstr>
      <vt:lpstr>Calibri</vt:lpstr>
      <vt:lpstr>Calibri Light</vt:lpstr>
      <vt:lpstr>Corbel</vt:lpstr>
      <vt:lpstr>DIN Next LT Arabic Light</vt:lpstr>
      <vt:lpstr>DIN Next LT Arabic Medium</vt:lpstr>
      <vt:lpstr>GE Dinar One</vt:lpstr>
      <vt:lpstr>GE SS Unique</vt:lpstr>
      <vt:lpstr>GE SS Unique Light</vt:lpstr>
      <vt:lpstr>Gill Sans MT</vt:lpstr>
      <vt:lpstr>Poppins SemiBold</vt:lpstr>
      <vt:lpstr>Raleway SemiBold</vt:lpstr>
      <vt:lpstr>TheSans</vt:lpstr>
      <vt:lpstr>Wingdings</vt:lpstr>
      <vt:lpstr>Wingdings 3</vt:lpstr>
      <vt:lpstr>Office Theme</vt:lpstr>
      <vt:lpstr>MoH (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va Aryanto</dc:creator>
  <cp:lastModifiedBy>USER</cp:lastModifiedBy>
  <cp:revision>846</cp:revision>
  <dcterms:created xsi:type="dcterms:W3CDTF">2021-12-02T07:20:22Z</dcterms:created>
  <dcterms:modified xsi:type="dcterms:W3CDTF">2024-09-30T04:31:08Z</dcterms:modified>
</cp:coreProperties>
</file>